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" ContentType="image/ti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4" r:id="rId5"/>
    <p:sldMasterId id="2147483713" r:id="rId6"/>
    <p:sldMasterId id="2147483719" r:id="rId7"/>
    <p:sldMasterId id="2147483726" r:id="rId8"/>
    <p:sldMasterId id="2147483732" r:id="rId9"/>
  </p:sldMasterIdLst>
  <p:notesMasterIdLst>
    <p:notesMasterId r:id="rId19"/>
  </p:notesMasterIdLst>
  <p:sldIdLst>
    <p:sldId id="2076136338" r:id="rId10"/>
    <p:sldId id="258" r:id="rId11"/>
    <p:sldId id="2146846919" r:id="rId12"/>
    <p:sldId id="2146846920" r:id="rId13"/>
    <p:sldId id="2146846925" r:id="rId14"/>
    <p:sldId id="2146846921" r:id="rId15"/>
    <p:sldId id="2146846922" r:id="rId16"/>
    <p:sldId id="2146846923" r:id="rId17"/>
    <p:sldId id="2146846918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FB94ABF-E388-9B4E-A718-41E7A8F26EBD}">
          <p14:sldIdLst>
            <p14:sldId id="2076136338"/>
            <p14:sldId id="258"/>
            <p14:sldId id="2146846919"/>
            <p14:sldId id="2146846920"/>
            <p14:sldId id="2146846925"/>
            <p14:sldId id="2146846921"/>
            <p14:sldId id="2146846922"/>
            <p14:sldId id="2146846923"/>
            <p14:sldId id="214684691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344" userDrawn="1">
          <p15:clr>
            <a:srgbClr val="A4A3A4"/>
          </p15:clr>
        </p15:guide>
        <p15:guide id="2" pos="170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66FBB0"/>
    <a:srgbClr val="0070C0"/>
    <a:srgbClr val="FF8600"/>
    <a:srgbClr val="DCA500"/>
    <a:srgbClr val="DFEDFD"/>
    <a:srgbClr val="DDF0C8"/>
    <a:srgbClr val="85889A"/>
    <a:srgbClr val="FFF3C1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AC6C9B-93F1-56AA-BC9B-682801FAA5A8}" v="132" dt="2022-10-04T15:11:07.471"/>
    <p1510:client id="{296843C4-118C-EADB-A754-2CD046DD04EC}" v="22" dt="2022-09-28T21:41:55.840"/>
    <p1510:client id="{738AE974-56C1-EFE9-E176-5E884E5E237D}" v="23" dt="2022-09-30T21:37:17.101"/>
    <p1510:client id="{7C1C6DBE-660A-FC92-2B7F-518949490246}" v="4" dt="2022-09-28T21:34:35.733"/>
    <p1510:client id="{CFBB0866-6DCC-AF10-B86E-F1D5C70BF222}" v="91" dt="2022-09-29T20:26:18.4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1344"/>
        <p:guide pos="1704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bbareddy Jangalapalli" userId="S::s0j01ys@homeoffice.wal-mart.com::7cb4e6ba-d3fc-4e47-83f7-65efa9223873" providerId="AD" clId="Web-{296843C4-118C-EADB-A754-2CD046DD04EC}"/>
    <pc:docChg chg="modSld">
      <pc:chgData name="Subbareddy Jangalapalli" userId="S::s0j01ys@homeoffice.wal-mart.com::7cb4e6ba-d3fc-4e47-83f7-65efa9223873" providerId="AD" clId="Web-{296843C4-118C-EADB-A754-2CD046DD04EC}" dt="2022-09-28T21:41:54.965" v="21" actId="20577"/>
      <pc:docMkLst>
        <pc:docMk/>
      </pc:docMkLst>
      <pc:sldChg chg="modSp">
        <pc:chgData name="Subbareddy Jangalapalli" userId="S::s0j01ys@homeoffice.wal-mart.com::7cb4e6ba-d3fc-4e47-83f7-65efa9223873" providerId="AD" clId="Web-{296843C4-118C-EADB-A754-2CD046DD04EC}" dt="2022-09-28T21:41:54.965" v="21" actId="20577"/>
        <pc:sldMkLst>
          <pc:docMk/>
          <pc:sldMk cId="3332259757" sldId="2146846923"/>
        </pc:sldMkLst>
        <pc:spChg chg="mod">
          <ac:chgData name="Subbareddy Jangalapalli" userId="S::s0j01ys@homeoffice.wal-mart.com::7cb4e6ba-d3fc-4e47-83f7-65efa9223873" providerId="AD" clId="Web-{296843C4-118C-EADB-A754-2CD046DD04EC}" dt="2022-09-28T21:41:54.965" v="21" actId="20577"/>
          <ac:spMkLst>
            <pc:docMk/>
            <pc:sldMk cId="3332259757" sldId="2146846923"/>
            <ac:spMk id="3" creationId="{05EB50F2-A4C9-FB18-3CA2-1FC0A36EBD99}"/>
          </ac:spMkLst>
        </pc:spChg>
        <pc:graphicFrameChg chg="mod">
          <ac:chgData name="Subbareddy Jangalapalli" userId="S::s0j01ys@homeoffice.wal-mart.com::7cb4e6ba-d3fc-4e47-83f7-65efa9223873" providerId="AD" clId="Web-{296843C4-118C-EADB-A754-2CD046DD04EC}" dt="2022-09-28T21:41:45.996" v="17" actId="1076"/>
          <ac:graphicFrameMkLst>
            <pc:docMk/>
            <pc:sldMk cId="3332259757" sldId="2146846923"/>
            <ac:graphicFrameMk id="6" creationId="{93869AC1-F908-2D67-C6B1-95D722CD6DF8}"/>
          </ac:graphicFrameMkLst>
        </pc:graphicFrameChg>
      </pc:sldChg>
    </pc:docChg>
  </pc:docChgLst>
  <pc:docChgLst>
    <pc:chgData name="Subbareddy Jangalapalli" userId="S::s0j01ys@homeoffice.wal-mart.com::7cb4e6ba-d3fc-4e47-83f7-65efa9223873" providerId="AD" clId="Web-{CFBB0866-6DCC-AF10-B86E-F1D5C70BF222}"/>
    <pc:docChg chg="modSld">
      <pc:chgData name="Subbareddy Jangalapalli" userId="S::s0j01ys@homeoffice.wal-mart.com::7cb4e6ba-d3fc-4e47-83f7-65efa9223873" providerId="AD" clId="Web-{CFBB0866-6DCC-AF10-B86E-F1D5C70BF222}" dt="2022-09-29T20:26:18.482" v="87" actId="20577"/>
      <pc:docMkLst>
        <pc:docMk/>
      </pc:docMkLst>
      <pc:sldChg chg="modSp">
        <pc:chgData name="Subbareddy Jangalapalli" userId="S::s0j01ys@homeoffice.wal-mart.com::7cb4e6ba-d3fc-4e47-83f7-65efa9223873" providerId="AD" clId="Web-{CFBB0866-6DCC-AF10-B86E-F1D5C70BF222}" dt="2022-09-29T20:11:21.184" v="5" actId="20577"/>
        <pc:sldMkLst>
          <pc:docMk/>
          <pc:sldMk cId="1932501442" sldId="258"/>
        </pc:sldMkLst>
        <pc:spChg chg="mod">
          <ac:chgData name="Subbareddy Jangalapalli" userId="S::s0j01ys@homeoffice.wal-mart.com::7cb4e6ba-d3fc-4e47-83f7-65efa9223873" providerId="AD" clId="Web-{CFBB0866-6DCC-AF10-B86E-F1D5C70BF222}" dt="2022-09-29T20:11:21.184" v="5" actId="20577"/>
          <ac:spMkLst>
            <pc:docMk/>
            <pc:sldMk cId="1932501442" sldId="258"/>
            <ac:spMk id="5" creationId="{F66E0EDC-6AC3-F943-880B-4532DA187434}"/>
          </ac:spMkLst>
        </pc:spChg>
      </pc:sldChg>
      <pc:sldChg chg="modSp">
        <pc:chgData name="Subbareddy Jangalapalli" userId="S::s0j01ys@homeoffice.wal-mart.com::7cb4e6ba-d3fc-4e47-83f7-65efa9223873" providerId="AD" clId="Web-{CFBB0866-6DCC-AF10-B86E-F1D5C70BF222}" dt="2022-09-29T20:17:34.526" v="37" actId="20577"/>
        <pc:sldMkLst>
          <pc:docMk/>
          <pc:sldMk cId="3051658259" sldId="2146846920"/>
        </pc:sldMkLst>
        <pc:spChg chg="mod">
          <ac:chgData name="Subbareddy Jangalapalli" userId="S::s0j01ys@homeoffice.wal-mart.com::7cb4e6ba-d3fc-4e47-83f7-65efa9223873" providerId="AD" clId="Web-{CFBB0866-6DCC-AF10-B86E-F1D5C70BF222}" dt="2022-09-29T20:17:34.526" v="37" actId="20577"/>
          <ac:spMkLst>
            <pc:docMk/>
            <pc:sldMk cId="3051658259" sldId="2146846920"/>
            <ac:spMk id="3" creationId="{05EB50F2-A4C9-FB18-3CA2-1FC0A36EBD99}"/>
          </ac:spMkLst>
        </pc:spChg>
      </pc:sldChg>
      <pc:sldChg chg="modSp">
        <pc:chgData name="Subbareddy Jangalapalli" userId="S::s0j01ys@homeoffice.wal-mart.com::7cb4e6ba-d3fc-4e47-83f7-65efa9223873" providerId="AD" clId="Web-{CFBB0866-6DCC-AF10-B86E-F1D5C70BF222}" dt="2022-09-29T20:26:18.482" v="87" actId="20577"/>
        <pc:sldMkLst>
          <pc:docMk/>
          <pc:sldMk cId="2200502280" sldId="2146846921"/>
        </pc:sldMkLst>
        <pc:spChg chg="mod">
          <ac:chgData name="Subbareddy Jangalapalli" userId="S::s0j01ys@homeoffice.wal-mart.com::7cb4e6ba-d3fc-4e47-83f7-65efa9223873" providerId="AD" clId="Web-{CFBB0866-6DCC-AF10-B86E-F1D5C70BF222}" dt="2022-09-29T20:26:18.482" v="87" actId="20577"/>
          <ac:spMkLst>
            <pc:docMk/>
            <pc:sldMk cId="2200502280" sldId="2146846921"/>
            <ac:spMk id="3" creationId="{05EB50F2-A4C9-FB18-3CA2-1FC0A36EBD99}"/>
          </ac:spMkLst>
        </pc:spChg>
      </pc:sldChg>
      <pc:sldChg chg="modSp">
        <pc:chgData name="Subbareddy Jangalapalli" userId="S::s0j01ys@homeoffice.wal-mart.com::7cb4e6ba-d3fc-4e47-83f7-65efa9223873" providerId="AD" clId="Web-{CFBB0866-6DCC-AF10-B86E-F1D5C70BF222}" dt="2022-09-29T20:18:06.902" v="42" actId="20577"/>
        <pc:sldMkLst>
          <pc:docMk/>
          <pc:sldMk cId="2762038195" sldId="2146846925"/>
        </pc:sldMkLst>
        <pc:spChg chg="mod">
          <ac:chgData name="Subbareddy Jangalapalli" userId="S::s0j01ys@homeoffice.wal-mart.com::7cb4e6ba-d3fc-4e47-83f7-65efa9223873" providerId="AD" clId="Web-{CFBB0866-6DCC-AF10-B86E-F1D5C70BF222}" dt="2022-09-29T20:18:06.902" v="42" actId="20577"/>
          <ac:spMkLst>
            <pc:docMk/>
            <pc:sldMk cId="2762038195" sldId="2146846925"/>
            <ac:spMk id="3" creationId="{05EB50F2-A4C9-FB18-3CA2-1FC0A36EBD99}"/>
          </ac:spMkLst>
        </pc:spChg>
      </pc:sldChg>
    </pc:docChg>
  </pc:docChgLst>
  <pc:docChgLst>
    <pc:chgData name="Subbareddy Jangalapalli" userId="S::s0j01ys@homeoffice.wal-mart.com::7cb4e6ba-d3fc-4e47-83f7-65efa9223873" providerId="AD" clId="Web-{15AC6C9B-93F1-56AA-BC9B-682801FAA5A8}"/>
    <pc:docChg chg="modSld">
      <pc:chgData name="Subbareddy Jangalapalli" userId="S::s0j01ys@homeoffice.wal-mart.com::7cb4e6ba-d3fc-4e47-83f7-65efa9223873" providerId="AD" clId="Web-{15AC6C9B-93F1-56AA-BC9B-682801FAA5A8}" dt="2022-10-04T15:11:07.471" v="131" actId="20577"/>
      <pc:docMkLst>
        <pc:docMk/>
      </pc:docMkLst>
      <pc:sldChg chg="modSp">
        <pc:chgData name="Subbareddy Jangalapalli" userId="S::s0j01ys@homeoffice.wal-mart.com::7cb4e6ba-d3fc-4e47-83f7-65efa9223873" providerId="AD" clId="Web-{15AC6C9B-93F1-56AA-BC9B-682801FAA5A8}" dt="2022-10-04T15:11:07.471" v="131" actId="20577"/>
        <pc:sldMkLst>
          <pc:docMk/>
          <pc:sldMk cId="3385164629" sldId="2146846922"/>
        </pc:sldMkLst>
        <pc:spChg chg="mod">
          <ac:chgData name="Subbareddy Jangalapalli" userId="S::s0j01ys@homeoffice.wal-mart.com::7cb4e6ba-d3fc-4e47-83f7-65efa9223873" providerId="AD" clId="Web-{15AC6C9B-93F1-56AA-BC9B-682801FAA5A8}" dt="2022-10-04T15:11:07.471" v="131" actId="20577"/>
          <ac:spMkLst>
            <pc:docMk/>
            <pc:sldMk cId="3385164629" sldId="2146846922"/>
            <ac:spMk id="3" creationId="{05EB50F2-A4C9-FB18-3CA2-1FC0A36EBD99}"/>
          </ac:spMkLst>
        </pc:spChg>
      </pc:sldChg>
    </pc:docChg>
  </pc:docChgLst>
  <pc:docChgLst>
    <pc:chgData name="Subbareddy Jangalapalli" userId="S::s0j01ys@homeoffice.wal-mart.com::7cb4e6ba-d3fc-4e47-83f7-65efa9223873" providerId="AD" clId="Web-{7C1C6DBE-660A-FC92-2B7F-518949490246}"/>
    <pc:docChg chg="modSld">
      <pc:chgData name="Subbareddy Jangalapalli" userId="S::s0j01ys@homeoffice.wal-mart.com::7cb4e6ba-d3fc-4e47-83f7-65efa9223873" providerId="AD" clId="Web-{7C1C6DBE-660A-FC92-2B7F-518949490246}" dt="2022-09-28T21:34:35.733" v="3" actId="20577"/>
      <pc:docMkLst>
        <pc:docMk/>
      </pc:docMkLst>
      <pc:sldChg chg="modSp">
        <pc:chgData name="Subbareddy Jangalapalli" userId="S::s0j01ys@homeoffice.wal-mart.com::7cb4e6ba-d3fc-4e47-83f7-65efa9223873" providerId="AD" clId="Web-{7C1C6DBE-660A-FC92-2B7F-518949490246}" dt="2022-09-28T21:34:35.733" v="3" actId="20577"/>
        <pc:sldMkLst>
          <pc:docMk/>
          <pc:sldMk cId="3332259757" sldId="2146846923"/>
        </pc:sldMkLst>
        <pc:spChg chg="mod">
          <ac:chgData name="Subbareddy Jangalapalli" userId="S::s0j01ys@homeoffice.wal-mart.com::7cb4e6ba-d3fc-4e47-83f7-65efa9223873" providerId="AD" clId="Web-{7C1C6DBE-660A-FC92-2B7F-518949490246}" dt="2022-09-28T21:34:35.733" v="3" actId="20577"/>
          <ac:spMkLst>
            <pc:docMk/>
            <pc:sldMk cId="3332259757" sldId="2146846923"/>
            <ac:spMk id="3" creationId="{05EB50F2-A4C9-FB18-3CA2-1FC0A36EBD99}"/>
          </ac:spMkLst>
        </pc:spChg>
      </pc:sldChg>
    </pc:docChg>
  </pc:docChgLst>
  <pc:docChgLst>
    <pc:chgData name="Subbareddy Jangalapalli" userId="S::s0j01ys@homeoffice.wal-mart.com::7cb4e6ba-d3fc-4e47-83f7-65efa9223873" providerId="AD" clId="Web-{738AE974-56C1-EFE9-E176-5E884E5E237D}"/>
    <pc:docChg chg="modSld">
      <pc:chgData name="Subbareddy Jangalapalli" userId="S::s0j01ys@homeoffice.wal-mart.com::7cb4e6ba-d3fc-4e47-83f7-65efa9223873" providerId="AD" clId="Web-{738AE974-56C1-EFE9-E176-5E884E5E237D}" dt="2022-09-30T21:37:16.382" v="10" actId="20577"/>
      <pc:docMkLst>
        <pc:docMk/>
      </pc:docMkLst>
      <pc:sldChg chg="modSp">
        <pc:chgData name="Subbareddy Jangalapalli" userId="S::s0j01ys@homeoffice.wal-mart.com::7cb4e6ba-d3fc-4e47-83f7-65efa9223873" providerId="AD" clId="Web-{738AE974-56C1-EFE9-E176-5E884E5E237D}" dt="2022-09-30T21:37:16.382" v="10" actId="20577"/>
        <pc:sldMkLst>
          <pc:docMk/>
          <pc:sldMk cId="1425558854" sldId="2076136338"/>
        </pc:sldMkLst>
        <pc:spChg chg="mod">
          <ac:chgData name="Subbareddy Jangalapalli" userId="S::s0j01ys@homeoffice.wal-mart.com::7cb4e6ba-d3fc-4e47-83f7-65efa9223873" providerId="AD" clId="Web-{738AE974-56C1-EFE9-E176-5E884E5E237D}" dt="2022-09-30T21:37:16.382" v="10" actId="20577"/>
          <ac:spMkLst>
            <pc:docMk/>
            <pc:sldMk cId="1425558854" sldId="2076136338"/>
            <ac:spMk id="5" creationId="{2A3B2F0A-E5F4-1091-4E31-2BE14D8283C1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9F81CF-138F-4EDF-91C0-5879942FC24D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372275-7678-4A84-814B-C3974AD511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4103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4E4271-647D-4D7B-988E-C6AA8561B46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6149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t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ti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4BE2DD8-228B-DA48-B58D-EDE724CCF6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803" y="5298831"/>
            <a:ext cx="5190543" cy="37702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000" b="0">
                <a:solidFill>
                  <a:schemeClr val="accent4"/>
                </a:solidFill>
                <a:latin typeface="Bogle" panose="020B0503020203060203" pitchFamily="34" charset="77"/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00/00/2020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ECD2A1B-6E6E-824D-9778-25C239BCE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8221" y="2207490"/>
            <a:ext cx="5191125" cy="2877711"/>
          </a:xfrm>
          <a:prstGeom prst="rect">
            <a:avLst/>
          </a:prstGeom>
        </p:spPr>
        <p:txBody>
          <a:bodyPr>
            <a:spAutoFit/>
          </a:bodyPr>
          <a:lstStyle>
            <a:lvl1pPr marL="287338" indent="-287338">
              <a:spcBef>
                <a:spcPts val="0"/>
              </a:spcBef>
              <a:buNone/>
              <a:tabLst/>
              <a:defRPr sz="4000">
                <a:solidFill>
                  <a:schemeClr val="bg1"/>
                </a:solidFill>
                <a:latin typeface="Bogle" panose="020B050302020306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  <a:latin typeface="Bogle" panose="020B0503020203060203" pitchFamily="34" charset="77"/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  <a:latin typeface="Bogle" panose="020B0503020203060203" pitchFamily="34" charset="77"/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  <a:latin typeface="Bogle" panose="020B0503020203060203" pitchFamily="34" charset="77"/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  <a:latin typeface="Bogle" panose="020B0503020203060203" pitchFamily="34" charset="77"/>
              </a:defRPr>
            </a:lvl5pPr>
          </a:lstStyle>
          <a:p>
            <a:pPr lvl="0"/>
            <a:r>
              <a:rPr lang="en-US"/>
              <a:t>}</a:t>
            </a:r>
            <a:br>
              <a:rPr lang="en-US"/>
            </a:br>
            <a:r>
              <a:rPr lang="en-US"/>
              <a:t>Walmart Global Tech</a:t>
            </a:r>
            <a:br>
              <a:rPr lang="en-US"/>
            </a:br>
            <a:r>
              <a:rPr lang="en-US"/>
              <a:t>PowerPoint </a:t>
            </a:r>
            <a:br>
              <a:rPr lang="en-US"/>
            </a:br>
            <a:r>
              <a:rPr lang="en-US"/>
              <a:t>title slide;</a:t>
            </a:r>
          </a:p>
          <a:p>
            <a:pPr lvl="0"/>
            <a:r>
              <a:rPr lang="en-US"/>
              <a:t>}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41FA5757-F12F-3F42-89D0-52801E4BB3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4246" y="-290680"/>
            <a:ext cx="6608034" cy="7439359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3F32137-52BC-5A41-9EE7-7F6A3202FB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221" y="6433093"/>
            <a:ext cx="1688606" cy="203486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EB3E15-7D15-2948-8F67-E548202C33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70005" y="6434343"/>
            <a:ext cx="2697276" cy="295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Bogle" panose="020B0503020203060203" pitchFamily="34" charset="77"/>
              </a:defRPr>
            </a:lvl1pPr>
            <a:lvl2pPr marL="457200" indent="0">
              <a:buNone/>
              <a:defRPr sz="1200">
                <a:solidFill>
                  <a:schemeClr val="bg1"/>
                </a:solidFill>
                <a:latin typeface="Bogle" panose="020B0503020203060203" pitchFamily="34" charset="77"/>
              </a:defRPr>
            </a:lvl2pPr>
            <a:lvl3pPr marL="914400" indent="0">
              <a:buNone/>
              <a:defRPr sz="1100">
                <a:solidFill>
                  <a:schemeClr val="bg1"/>
                </a:solidFill>
                <a:latin typeface="Bogle" panose="020B0503020203060203" pitchFamily="34" charset="77"/>
              </a:defRPr>
            </a:lvl3pPr>
            <a:lvl4pPr marL="1371600" indent="0">
              <a:buNone/>
              <a:defRPr sz="1050">
                <a:solidFill>
                  <a:schemeClr val="bg1"/>
                </a:solidFill>
                <a:latin typeface="Bogle" panose="020B0503020203060203" pitchFamily="34" charset="77"/>
              </a:defRPr>
            </a:lvl4pPr>
            <a:lvl5pPr marL="1828800" indent="0">
              <a:buNone/>
              <a:defRPr sz="1050">
                <a:solidFill>
                  <a:schemeClr val="bg1"/>
                </a:solidFill>
                <a:latin typeface="Bogle" panose="020B0503020203060203" pitchFamily="34" charset="77"/>
              </a:defRPr>
            </a:lvl5pPr>
          </a:lstStyle>
          <a:p>
            <a:pPr lvl="0"/>
            <a:r>
              <a:rPr lang="en-US"/>
              <a:t>// insert Team Name (optional) </a:t>
            </a:r>
          </a:p>
        </p:txBody>
      </p:sp>
    </p:spTree>
    <p:extLst>
      <p:ext uri="{BB962C8B-B14F-4D97-AF65-F5344CB8AC3E}">
        <p14:creationId xmlns:p14="http://schemas.microsoft.com/office/powerpoint/2010/main" val="684212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enter Slide">
    <p:bg>
      <p:bgPr>
        <a:solidFill>
          <a:srgbClr val="041F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>
            <a:extLst>
              <a:ext uri="{FF2B5EF4-FFF2-40B4-BE49-F238E27FC236}">
                <a16:creationId xmlns:a16="http://schemas.microsoft.com/office/drawing/2014/main" id="{F9A43926-7A5B-C74F-B2D3-8AFFC3764C51}"/>
              </a:ext>
            </a:extLst>
          </p:cNvPr>
          <p:cNvSpPr/>
          <p:nvPr userDrawn="1"/>
        </p:nvSpPr>
        <p:spPr>
          <a:xfrm>
            <a:off x="873457" y="1254169"/>
            <a:ext cx="4115233" cy="4115233"/>
          </a:xfrm>
          <a:prstGeom prst="ellipse">
            <a:avLst/>
          </a:prstGeom>
          <a:noFill/>
          <a:ln w="317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4415F5A-A382-CA42-AF2A-BABDC62F74C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48288" y="2808513"/>
            <a:ext cx="5208587" cy="4533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>
                <a:solidFill>
                  <a:schemeClr val="accent4"/>
                </a:solidFill>
                <a:latin typeface="Bogle" panose="020B0503020203060203" pitchFamily="34" charset="77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;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81260E7B-FBB9-1741-9F65-16FA3AD72A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48288" y="3311786"/>
            <a:ext cx="5208587" cy="5641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chemeClr val="accent4"/>
                </a:solidFill>
                <a:latin typeface="Bogle" panose="020B0503020203060203" pitchFamily="34" charset="77"/>
              </a:defRPr>
            </a:lvl1pPr>
          </a:lstStyle>
          <a:p>
            <a:pPr lvl="0"/>
            <a:r>
              <a:rPr lang="en-US"/>
              <a:t>Title and organization goes he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E3C49B-1FD2-EE4C-A8AC-282633A1F7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1" y="6433093"/>
            <a:ext cx="1010918" cy="203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871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9210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004944D-CF4E-3F4C-B4CC-D77BC15C87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832" y="630402"/>
            <a:ext cx="10434638" cy="490904"/>
          </a:xfrm>
        </p:spPr>
        <p:txBody>
          <a:bodyPr wrap="square"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Here’s a header for a content slide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174BFDE-54A0-134F-B2F8-D8D989E1C8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832" y="1529583"/>
            <a:ext cx="10439400" cy="4148164"/>
          </a:xfrm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Here is where you can add your content.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05EC892-7790-AC4F-8C01-83B0E8D1B7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97259" y="6448609"/>
            <a:ext cx="3178068" cy="220445"/>
          </a:xfrm>
        </p:spPr>
        <p:txBody>
          <a:bodyPr wrap="square" anchor="ctr">
            <a:spAutoFit/>
          </a:bodyPr>
          <a:lstStyle>
            <a:lvl1pPr algn="r">
              <a:defRPr sz="850">
                <a:solidFill>
                  <a:schemeClr val="bg2">
                    <a:lumMod val="90000"/>
                  </a:schemeClr>
                </a:solidFill>
              </a:defRPr>
            </a:lvl1pPr>
            <a:lvl2pPr>
              <a:defRPr sz="105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900">
                <a:solidFill>
                  <a:schemeClr val="accent1"/>
                </a:solidFill>
              </a:defRPr>
            </a:lvl4pPr>
            <a:lvl5pPr>
              <a:defRPr sz="900">
                <a:solidFill>
                  <a:schemeClr val="accent1"/>
                </a:solidFill>
              </a:defRPr>
            </a:lvl5pPr>
          </a:lstStyle>
          <a:p>
            <a:pPr lvl="0"/>
            <a:fld id="{E9D1E257-498D-3542-9680-B1D2254B281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F3E9B14-6BAB-D549-824E-2C3D928B7244}"/>
              </a:ext>
            </a:extLst>
          </p:cNvPr>
          <p:cNvSpPr/>
          <p:nvPr userDrawn="1"/>
        </p:nvSpPr>
        <p:spPr>
          <a:xfrm>
            <a:off x="914400" y="1121306"/>
            <a:ext cx="1639614" cy="45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3359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4BE2DD8-228B-DA48-B58D-EDE724CCF6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803" y="5298831"/>
            <a:ext cx="5190543" cy="37702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000" b="0">
                <a:solidFill>
                  <a:schemeClr val="accent4"/>
                </a:solidFill>
                <a:latin typeface="Bogle" panose="020B0503020203060203" pitchFamily="34" charset="77"/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#00/00/2020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ECD2A1B-6E6E-824D-9778-25C239BCE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8221" y="2207490"/>
            <a:ext cx="5191125" cy="2877711"/>
          </a:xfrm>
          <a:prstGeom prst="rect">
            <a:avLst/>
          </a:prstGeom>
        </p:spPr>
        <p:txBody>
          <a:bodyPr>
            <a:spAutoFit/>
          </a:bodyPr>
          <a:lstStyle>
            <a:lvl1pPr marL="287338" indent="-287338">
              <a:spcBef>
                <a:spcPts val="0"/>
              </a:spcBef>
              <a:buNone/>
              <a:tabLst/>
              <a:defRPr sz="4000">
                <a:solidFill>
                  <a:schemeClr val="bg1"/>
                </a:solidFill>
                <a:latin typeface="Bogle" panose="020B050302020306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  <a:latin typeface="Bogle" panose="020B0503020203060203" pitchFamily="34" charset="77"/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  <a:latin typeface="Bogle" panose="020B0503020203060203" pitchFamily="34" charset="77"/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  <a:latin typeface="Bogle" panose="020B0503020203060203" pitchFamily="34" charset="77"/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  <a:latin typeface="Bogle" panose="020B0503020203060203" pitchFamily="34" charset="77"/>
              </a:defRPr>
            </a:lvl5pPr>
          </a:lstStyle>
          <a:p>
            <a:pPr lvl="0"/>
            <a:r>
              <a:rPr lang="en-US"/>
              <a:t>}</a:t>
            </a:r>
            <a:br>
              <a:rPr lang="en-US"/>
            </a:br>
            <a:r>
              <a:rPr lang="en-US"/>
              <a:t>Walmart Global Tech</a:t>
            </a:r>
            <a:br>
              <a:rPr lang="en-US"/>
            </a:br>
            <a:r>
              <a:rPr lang="en-US"/>
              <a:t>PowerPoint </a:t>
            </a:r>
            <a:br>
              <a:rPr lang="en-US"/>
            </a:br>
            <a:r>
              <a:rPr lang="en-US"/>
              <a:t>title slide;</a:t>
            </a:r>
          </a:p>
          <a:p>
            <a:pPr lvl="0"/>
            <a:r>
              <a:rPr lang="en-US"/>
              <a:t>}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41FA5757-F12F-3F42-89D0-52801E4BB3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4246" y="-290680"/>
            <a:ext cx="6608034" cy="7439359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3F32137-52BC-5A41-9EE7-7F6A3202FB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221" y="6433093"/>
            <a:ext cx="1688606" cy="203486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EB3E15-7D15-2948-8F67-E548202C33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70005" y="6434343"/>
            <a:ext cx="2697276" cy="295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Bogle" panose="020B0503020203060203" pitchFamily="34" charset="77"/>
              </a:defRPr>
            </a:lvl1pPr>
            <a:lvl2pPr marL="457200" indent="0">
              <a:buNone/>
              <a:defRPr sz="1200">
                <a:solidFill>
                  <a:schemeClr val="bg1"/>
                </a:solidFill>
                <a:latin typeface="Bogle" panose="020B0503020203060203" pitchFamily="34" charset="77"/>
              </a:defRPr>
            </a:lvl2pPr>
            <a:lvl3pPr marL="914400" indent="0">
              <a:buNone/>
              <a:defRPr sz="1100">
                <a:solidFill>
                  <a:schemeClr val="bg1"/>
                </a:solidFill>
                <a:latin typeface="Bogle" panose="020B0503020203060203" pitchFamily="34" charset="77"/>
              </a:defRPr>
            </a:lvl3pPr>
            <a:lvl4pPr marL="1371600" indent="0">
              <a:buNone/>
              <a:defRPr sz="1050">
                <a:solidFill>
                  <a:schemeClr val="bg1"/>
                </a:solidFill>
                <a:latin typeface="Bogle" panose="020B0503020203060203" pitchFamily="34" charset="77"/>
              </a:defRPr>
            </a:lvl4pPr>
            <a:lvl5pPr marL="1828800" indent="0">
              <a:buNone/>
              <a:defRPr sz="1050">
                <a:solidFill>
                  <a:schemeClr val="bg1"/>
                </a:solidFill>
                <a:latin typeface="Bogle" panose="020B0503020203060203" pitchFamily="34" charset="77"/>
              </a:defRPr>
            </a:lvl5pPr>
          </a:lstStyle>
          <a:p>
            <a:pPr lvl="0"/>
            <a:r>
              <a:rPr lang="en-US"/>
              <a:t>// insert Team Name (optional) </a:t>
            </a:r>
          </a:p>
        </p:txBody>
      </p:sp>
    </p:spTree>
    <p:extLst>
      <p:ext uri="{BB962C8B-B14F-4D97-AF65-F5344CB8AC3E}">
        <p14:creationId xmlns:p14="http://schemas.microsoft.com/office/powerpoint/2010/main" val="9798094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86E867D-40D6-6A42-A0D4-44C536F1A7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5940" y="1832104"/>
            <a:ext cx="5191125" cy="2877711"/>
          </a:xfrm>
          <a:prstGeom prst="rect">
            <a:avLst/>
          </a:prstGeom>
        </p:spPr>
        <p:txBody>
          <a:bodyPr>
            <a:spAutoFit/>
          </a:bodyPr>
          <a:lstStyle>
            <a:lvl1pPr marL="287338" indent="-277813">
              <a:spcBef>
                <a:spcPts val="0"/>
              </a:spcBef>
              <a:buNone/>
              <a:tabLst/>
              <a:defRPr sz="4000">
                <a:solidFill>
                  <a:schemeClr val="bg1"/>
                </a:solidFill>
                <a:latin typeface="Bogle" panose="020B050302020306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  <a:latin typeface="Bogle" panose="020B0503020203060203" pitchFamily="34" charset="77"/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  <a:latin typeface="Bogle" panose="020B0503020203060203" pitchFamily="34" charset="77"/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  <a:latin typeface="Bogle" panose="020B0503020203060203" pitchFamily="34" charset="77"/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  <a:latin typeface="Bogle" panose="020B0503020203060203" pitchFamily="34" charset="77"/>
              </a:defRPr>
            </a:lvl5pPr>
          </a:lstStyle>
          <a:p>
            <a:pPr lvl="0"/>
            <a:r>
              <a:rPr lang="en-US"/>
              <a:t>}</a:t>
            </a:r>
            <a:br>
              <a:rPr lang="en-US"/>
            </a:br>
            <a:r>
              <a:rPr lang="en-US"/>
              <a:t>Here’s a header</a:t>
            </a:r>
            <a:br>
              <a:rPr lang="en-US"/>
            </a:br>
            <a:r>
              <a:rPr lang="en-US"/>
              <a:t>for a title slide.</a:t>
            </a:r>
            <a:br>
              <a:rPr lang="en-US"/>
            </a:br>
            <a:r>
              <a:rPr lang="en-US"/>
              <a:t>#00/00/2020</a:t>
            </a:r>
          </a:p>
          <a:p>
            <a:pPr lvl="0"/>
            <a:r>
              <a:rPr lang="en-US"/>
              <a:t>}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F450B1-87A8-BE4C-9067-618FF8B34F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221" y="6433093"/>
            <a:ext cx="1688606" cy="203486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3EC159C-2618-614C-9553-C2DBD756A6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70005" y="6434343"/>
            <a:ext cx="2697276" cy="295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Bogle" panose="020B0503020203060203" pitchFamily="34" charset="77"/>
              </a:defRPr>
            </a:lvl1pPr>
            <a:lvl2pPr marL="457200" indent="0">
              <a:buNone/>
              <a:defRPr sz="1200">
                <a:solidFill>
                  <a:schemeClr val="bg1"/>
                </a:solidFill>
                <a:latin typeface="Bogle" panose="020B0503020203060203" pitchFamily="34" charset="77"/>
              </a:defRPr>
            </a:lvl2pPr>
            <a:lvl3pPr marL="914400" indent="0">
              <a:buNone/>
              <a:defRPr sz="1100">
                <a:solidFill>
                  <a:schemeClr val="bg1"/>
                </a:solidFill>
                <a:latin typeface="Bogle" panose="020B0503020203060203" pitchFamily="34" charset="77"/>
              </a:defRPr>
            </a:lvl3pPr>
            <a:lvl4pPr marL="1371600" indent="0">
              <a:buNone/>
              <a:defRPr sz="1050">
                <a:solidFill>
                  <a:schemeClr val="bg1"/>
                </a:solidFill>
                <a:latin typeface="Bogle" panose="020B0503020203060203" pitchFamily="34" charset="77"/>
              </a:defRPr>
            </a:lvl4pPr>
            <a:lvl5pPr marL="1828800" indent="0">
              <a:buNone/>
              <a:defRPr sz="1050">
                <a:solidFill>
                  <a:schemeClr val="bg1"/>
                </a:solidFill>
                <a:latin typeface="Bogle" panose="020B0503020203060203" pitchFamily="34" charset="77"/>
              </a:defRPr>
            </a:lvl5pPr>
          </a:lstStyle>
          <a:p>
            <a:pPr lvl="0"/>
            <a:r>
              <a:rPr lang="en-US"/>
              <a:t>// insert Team Name (optional) </a:t>
            </a:r>
          </a:p>
        </p:txBody>
      </p:sp>
    </p:spTree>
    <p:extLst>
      <p:ext uri="{BB962C8B-B14F-4D97-AF65-F5344CB8AC3E}">
        <p14:creationId xmlns:p14="http://schemas.microsoft.com/office/powerpoint/2010/main" val="3982345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E500547F-0FC5-5E47-AACF-4BE2AB7999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3272" y="2870562"/>
            <a:ext cx="5025457" cy="490904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buNone/>
              <a:defRPr b="0">
                <a:solidFill>
                  <a:schemeClr val="accent4"/>
                </a:solidFill>
                <a:latin typeface="Bogle" panose="020B0503020203060203" pitchFamily="34" charset="77"/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{Here’s your section title.}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4BE2DD8-228B-DA48-B58D-EDE724CCF6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3271" y="3681724"/>
            <a:ext cx="5025458" cy="3770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buNone/>
              <a:defRPr sz="2000" b="0">
                <a:solidFill>
                  <a:schemeClr val="accent4"/>
                </a:solidFill>
                <a:latin typeface="Bogle" panose="020B0503020203060203" pitchFamily="34" charset="77"/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Here’s a subhead for your breaker slide.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6359113-AC0D-8142-A76F-CED7FE39A236}"/>
              </a:ext>
            </a:extLst>
          </p:cNvPr>
          <p:cNvSpPr/>
          <p:nvPr userDrawn="1"/>
        </p:nvSpPr>
        <p:spPr>
          <a:xfrm>
            <a:off x="5276193" y="3497158"/>
            <a:ext cx="1639614" cy="45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7C0C5AD-7047-0844-872A-75C8AF04C3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1" y="6433093"/>
            <a:ext cx="1010918" cy="203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3247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E500547F-0FC5-5E47-AACF-4BE2AB7999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0826" y="3668970"/>
            <a:ext cx="5025457" cy="49090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buNone/>
              <a:defRPr b="0">
                <a:solidFill>
                  <a:schemeClr val="accent4"/>
                </a:solidFill>
                <a:latin typeface="Bogle" panose="020B0503020203060203" pitchFamily="34" charset="77"/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{Here’s your section title.}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E138A5-66D6-004D-B258-7DA6E7A37728}"/>
              </a:ext>
            </a:extLst>
          </p:cNvPr>
          <p:cNvSpPr/>
          <p:nvPr userDrawn="1"/>
        </p:nvSpPr>
        <p:spPr>
          <a:xfrm>
            <a:off x="5273747" y="3497158"/>
            <a:ext cx="1639614" cy="45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EACCE4-CB2E-4D42-8222-9B668B7825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1" y="6433093"/>
            <a:ext cx="1010918" cy="2034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46CD1AB-B272-414C-BEE3-CC6E7A4B7A2C}"/>
              </a:ext>
            </a:extLst>
          </p:cNvPr>
          <p:cNvSpPr/>
          <p:nvPr userDrawn="1"/>
        </p:nvSpPr>
        <p:spPr>
          <a:xfrm>
            <a:off x="5572902" y="2245847"/>
            <a:ext cx="1046195" cy="10461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2331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754D75B-3313-4348-8859-1CA8C86DF5B5}"/>
              </a:ext>
            </a:extLst>
          </p:cNvPr>
          <p:cNvSpPr txBox="1"/>
          <p:nvPr userDrawn="1"/>
        </p:nvSpPr>
        <p:spPr>
          <a:xfrm>
            <a:off x="3377146" y="2955239"/>
            <a:ext cx="543770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200" b="0">
                <a:solidFill>
                  <a:schemeClr val="accent4"/>
                </a:solidFill>
                <a:latin typeface="Bogle" panose="020B0503020203060203" pitchFamily="34" charset="77"/>
              </a:rPr>
              <a:t>Thank you!();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6BBEC6D-DB7F-B246-AA1A-D8873018E8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1" y="6433093"/>
            <a:ext cx="1010918" cy="203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5245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enter Slide">
    <p:bg>
      <p:bgPr>
        <a:solidFill>
          <a:srgbClr val="041F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>
            <a:extLst>
              <a:ext uri="{FF2B5EF4-FFF2-40B4-BE49-F238E27FC236}">
                <a16:creationId xmlns:a16="http://schemas.microsoft.com/office/drawing/2014/main" id="{F9A43926-7A5B-C74F-B2D3-8AFFC3764C51}"/>
              </a:ext>
            </a:extLst>
          </p:cNvPr>
          <p:cNvSpPr/>
          <p:nvPr userDrawn="1"/>
        </p:nvSpPr>
        <p:spPr>
          <a:xfrm>
            <a:off x="873457" y="1254169"/>
            <a:ext cx="4115233" cy="4115233"/>
          </a:xfrm>
          <a:prstGeom prst="ellipse">
            <a:avLst/>
          </a:prstGeom>
          <a:noFill/>
          <a:ln w="317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4415F5A-A382-CA42-AF2A-BABDC62F74C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48288" y="2808513"/>
            <a:ext cx="5208587" cy="4533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>
                <a:solidFill>
                  <a:schemeClr val="accent4"/>
                </a:solidFill>
                <a:latin typeface="Bogle" panose="020B0503020203060203" pitchFamily="34" charset="77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;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81260E7B-FBB9-1741-9F65-16FA3AD72A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48288" y="3311786"/>
            <a:ext cx="5208587" cy="5641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chemeClr val="accent4"/>
                </a:solidFill>
                <a:latin typeface="Bogle" panose="020B0503020203060203" pitchFamily="34" charset="77"/>
              </a:defRPr>
            </a:lvl1pPr>
          </a:lstStyle>
          <a:p>
            <a:pPr lvl="0"/>
            <a:r>
              <a:rPr lang="en-US"/>
              <a:t>Title and organization goes he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E3C49B-1FD2-EE4C-A8AC-282633A1F7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1" y="6433093"/>
            <a:ext cx="1010918" cy="203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3951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711200" y="3327400"/>
            <a:ext cx="6197600" cy="7315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267">
                <a:solidFill>
                  <a:schemeClr val="bg1"/>
                </a:solidFill>
              </a:defRPr>
            </a:lvl1pPr>
            <a:lvl2pPr marL="609585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1219170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1828754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2438339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711200" y="4140200"/>
            <a:ext cx="6197600" cy="609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2"/>
                </a:solidFill>
              </a:defRPr>
            </a:lvl1pPr>
            <a:lvl2pPr marL="609585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1219170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1828754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2438339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2453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269F7A4E-CC19-D14F-8C8F-280921F942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1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Rectangle">
            <a:extLst>
              <a:ext uri="{FF2B5EF4-FFF2-40B4-BE49-F238E27FC236}">
                <a16:creationId xmlns:a16="http://schemas.microsoft.com/office/drawing/2014/main" id="{6293E5A5-5C5A-9747-8DB5-1D1D07AC2725}"/>
              </a:ext>
            </a:extLst>
          </p:cNvPr>
          <p:cNvSpPr/>
          <p:nvPr userDrawn="1"/>
        </p:nvSpPr>
        <p:spPr>
          <a:xfrm>
            <a:off x="-2" y="0"/>
            <a:ext cx="12192001" cy="6857999"/>
          </a:xfrm>
          <a:prstGeom prst="rect">
            <a:avLst/>
          </a:prstGeom>
          <a:solidFill>
            <a:srgbClr val="000000">
              <a:alpha val="5500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algn="ctr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ECD2A1B-6E6E-824D-9778-25C239BCE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23881" y="4449196"/>
            <a:ext cx="5191125" cy="1096454"/>
          </a:xfrm>
          <a:prstGeom prst="rect">
            <a:avLst/>
          </a:prstGeom>
        </p:spPr>
        <p:txBody>
          <a:bodyPr>
            <a:spAutoFit/>
          </a:bodyPr>
          <a:lstStyle>
            <a:lvl1pPr marL="300038" indent="-277813">
              <a:spcBef>
                <a:spcPts val="0"/>
              </a:spcBef>
              <a:buNone/>
              <a:tabLst/>
              <a:defRPr sz="1800">
                <a:solidFill>
                  <a:schemeClr val="bg1"/>
                </a:solidFill>
                <a:latin typeface="Bogle" panose="020B050302020306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  <a:latin typeface="Bogle" panose="020B0503020203060203" pitchFamily="34" charset="77"/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  <a:latin typeface="Bogle" panose="020B0503020203060203" pitchFamily="34" charset="77"/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  <a:latin typeface="Bogle" panose="020B0503020203060203" pitchFamily="34" charset="77"/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  <a:latin typeface="Bogle" panose="020B0503020203060203" pitchFamily="34" charset="77"/>
              </a:defRPr>
            </a:lvl5pPr>
          </a:lstStyle>
          <a:p>
            <a:pPr lvl="0"/>
            <a:r>
              <a:rPr lang="en-US"/>
              <a:t>}</a:t>
            </a:r>
            <a:br>
              <a:rPr lang="en-US"/>
            </a:br>
            <a:r>
              <a:rPr lang="en-US"/>
              <a:t>Here’s a subhead for your title slide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.</a:t>
            </a:r>
          </a:p>
          <a:p>
            <a:pPr lvl="0"/>
            <a:r>
              <a:rPr lang="en-US"/>
              <a:t>}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84D3C09-FC2C-034F-BD21-EB888E4D18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00435" y="2167061"/>
            <a:ext cx="5596673" cy="17774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225" indent="0">
              <a:spcBef>
                <a:spcPts val="0"/>
              </a:spcBef>
              <a:buNone/>
              <a:tabLst/>
              <a:defRPr sz="6000">
                <a:solidFill>
                  <a:schemeClr val="bg1"/>
                </a:solidFill>
                <a:latin typeface="Bogle" panose="020B050302020306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  <a:latin typeface="Bogle" panose="020B0503020203060203" pitchFamily="34" charset="77"/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  <a:latin typeface="Bogle" panose="020B0503020203060203" pitchFamily="34" charset="77"/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  <a:latin typeface="Bogle" panose="020B0503020203060203" pitchFamily="34" charset="77"/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  <a:latin typeface="Bogle" panose="020B0503020203060203" pitchFamily="34" charset="77"/>
              </a:defRPr>
            </a:lvl5pPr>
          </a:lstStyle>
          <a:p>
            <a:pPr lvl="0"/>
            <a:r>
              <a:rPr lang="en-US"/>
              <a:t>Here’s a header for a title slide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AB6D3F-CA41-924D-87CA-3BB72231E1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221" y="6433093"/>
            <a:ext cx="1688606" cy="203486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2A471F5-C224-2E4C-894F-413E0FD034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70005" y="6434343"/>
            <a:ext cx="2697276" cy="295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Bogle" panose="020B0503020203060203" pitchFamily="34" charset="77"/>
              </a:defRPr>
            </a:lvl1pPr>
            <a:lvl2pPr marL="457200" indent="0">
              <a:buNone/>
              <a:defRPr sz="1200">
                <a:solidFill>
                  <a:schemeClr val="bg1"/>
                </a:solidFill>
                <a:latin typeface="Bogle" panose="020B0503020203060203" pitchFamily="34" charset="77"/>
              </a:defRPr>
            </a:lvl2pPr>
            <a:lvl3pPr marL="914400" indent="0">
              <a:buNone/>
              <a:defRPr sz="1100">
                <a:solidFill>
                  <a:schemeClr val="bg1"/>
                </a:solidFill>
                <a:latin typeface="Bogle" panose="020B0503020203060203" pitchFamily="34" charset="77"/>
              </a:defRPr>
            </a:lvl3pPr>
            <a:lvl4pPr marL="1371600" indent="0">
              <a:buNone/>
              <a:defRPr sz="1050">
                <a:solidFill>
                  <a:schemeClr val="bg1"/>
                </a:solidFill>
                <a:latin typeface="Bogle" panose="020B0503020203060203" pitchFamily="34" charset="77"/>
              </a:defRPr>
            </a:lvl4pPr>
            <a:lvl5pPr marL="1828800" indent="0">
              <a:buNone/>
              <a:defRPr sz="1050">
                <a:solidFill>
                  <a:schemeClr val="bg1"/>
                </a:solidFill>
                <a:latin typeface="Bogle" panose="020B0503020203060203" pitchFamily="34" charset="77"/>
              </a:defRPr>
            </a:lvl5pPr>
          </a:lstStyle>
          <a:p>
            <a:pPr lvl="0"/>
            <a:r>
              <a:rPr lang="en-US"/>
              <a:t>// insert Team Name (optional) </a:t>
            </a:r>
          </a:p>
        </p:txBody>
      </p:sp>
    </p:spTree>
    <p:extLst>
      <p:ext uri="{BB962C8B-B14F-4D97-AF65-F5344CB8AC3E}">
        <p14:creationId xmlns:p14="http://schemas.microsoft.com/office/powerpoint/2010/main" val="1575847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177801"/>
            <a:ext cx="10972800" cy="5122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400" y="6375401"/>
            <a:ext cx="609600" cy="3661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333" b="0" i="0">
                <a:solidFill>
                  <a:schemeClr val="bg1"/>
                </a:solidFill>
              </a:defRPr>
            </a:lvl1pPr>
          </a:lstStyle>
          <a:p>
            <a:fld id="{79610DEB-B539-4097-9140-E362E27F911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 hasCustomPrompt="1"/>
          </p:nvPr>
        </p:nvSpPr>
        <p:spPr>
          <a:xfrm>
            <a:off x="203200" y="787400"/>
            <a:ext cx="11684000" cy="406400"/>
          </a:xfrm>
          <a:prstGeom prst="rect">
            <a:avLst/>
          </a:prstGeom>
        </p:spPr>
        <p:txBody>
          <a:bodyPr/>
          <a:lstStyle>
            <a:lvl1pPr>
              <a:defRPr sz="1867" baseline="0"/>
            </a:lvl1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013348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609600" y="1352141"/>
            <a:ext cx="10972800" cy="467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400" y="6375401"/>
            <a:ext cx="609600" cy="3661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333" b="0" i="0">
                <a:solidFill>
                  <a:schemeClr val="bg1"/>
                </a:solidFill>
              </a:defRPr>
            </a:lvl1pPr>
          </a:lstStyle>
          <a:p>
            <a:fld id="{79610DEB-B539-4097-9140-E362E27F911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3860800" y="6375823"/>
            <a:ext cx="7620000" cy="365760"/>
          </a:xfrm>
          <a:prstGeom prst="rect">
            <a:avLst/>
          </a:prstGeom>
        </p:spPr>
        <p:txBody>
          <a:bodyPr anchor="b"/>
          <a:lstStyle>
            <a:lvl1pPr indent="0" algn="r">
              <a:spcBef>
                <a:spcPts val="0"/>
              </a:spcBef>
              <a:defRPr sz="1333">
                <a:solidFill>
                  <a:schemeClr val="bg1"/>
                </a:solidFill>
              </a:defRPr>
            </a:lvl1pPr>
            <a:lvl2pPr indent="0">
              <a:spcBef>
                <a:spcPts val="0"/>
              </a:spcBef>
              <a:defRPr sz="1333">
                <a:solidFill>
                  <a:schemeClr val="bg1"/>
                </a:solidFill>
              </a:defRPr>
            </a:lvl2pPr>
            <a:lvl3pPr indent="0">
              <a:spcBef>
                <a:spcPts val="0"/>
              </a:spcBef>
              <a:defRPr sz="1333">
                <a:solidFill>
                  <a:schemeClr val="bg1"/>
                </a:solidFill>
              </a:defRPr>
            </a:lvl3pPr>
            <a:lvl4pPr indent="0">
              <a:spcBef>
                <a:spcPts val="0"/>
              </a:spcBef>
              <a:defRPr sz="1333">
                <a:solidFill>
                  <a:schemeClr val="bg1"/>
                </a:solidFill>
              </a:defRPr>
            </a:lvl4pPr>
            <a:lvl5pPr indent="0">
              <a:spcBef>
                <a:spcPts val="0"/>
              </a:spcBef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lidedoc footer</a:t>
            </a:r>
          </a:p>
        </p:txBody>
      </p:sp>
      <p:sp>
        <p:nvSpPr>
          <p:cNvPr id="15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203200" y="787400"/>
            <a:ext cx="11684000" cy="406400"/>
          </a:xfrm>
          <a:prstGeom prst="rect">
            <a:avLst/>
          </a:prstGeom>
        </p:spPr>
        <p:txBody>
          <a:bodyPr/>
          <a:lstStyle>
            <a:lvl1pPr>
              <a:defRPr sz="1867" baseline="0"/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3200" y="175385"/>
            <a:ext cx="10972800" cy="5122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78929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756" y="313653"/>
            <a:ext cx="10783555" cy="481185"/>
          </a:xfrm>
        </p:spPr>
        <p:txBody>
          <a:bodyPr rIns="0"/>
          <a:lstStyle>
            <a:lvl1pPr marL="0">
              <a:defRPr sz="2133" b="1">
                <a:solidFill>
                  <a:srgbClr val="007DC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311771" y="2083725"/>
            <a:ext cx="10783544" cy="4369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600"/>
              </a:spcBef>
              <a:defRPr sz="2133">
                <a:solidFill>
                  <a:srgbClr val="000000"/>
                </a:solidFill>
              </a:defRPr>
            </a:lvl1pPr>
            <a:lvl2pPr marL="646128" indent="-306895" defTabSz="681518">
              <a:spcBef>
                <a:spcPts val="1067"/>
              </a:spcBef>
              <a:buSzPct val="80000"/>
              <a:buFont typeface="Arial"/>
              <a:buChar char="•"/>
              <a:defRPr sz="1867" b="0">
                <a:solidFill>
                  <a:srgbClr val="000000"/>
                </a:solidFill>
                <a:latin typeface="+mn-lt"/>
                <a:cs typeface="Graphik Black"/>
              </a:defRPr>
            </a:lvl2pPr>
            <a:lvl3pPr marL="1024052" indent="-306895">
              <a:spcBef>
                <a:spcPts val="400"/>
              </a:spcBef>
              <a:buSzPct val="80000"/>
              <a:buFont typeface="Lucida Grande"/>
              <a:buChar char="—"/>
              <a:defRPr sz="1600">
                <a:solidFill>
                  <a:srgbClr val="000000"/>
                </a:solidFill>
                <a:latin typeface="+mn-lt"/>
                <a:cs typeface="Graphik Black"/>
              </a:defRPr>
            </a:lvl3pPr>
            <a:lvl4pPr marL="1401976" indent="-304776">
              <a:spcBef>
                <a:spcPts val="400"/>
              </a:spcBef>
              <a:buSzPct val="80000"/>
              <a:buFont typeface="Arial"/>
              <a:buChar char="•"/>
              <a:tabLst/>
              <a:defRPr sz="1400">
                <a:solidFill>
                  <a:srgbClr val="000000"/>
                </a:solidFill>
              </a:defRPr>
            </a:lvl4pPr>
            <a:lvl5pPr marL="646128" indent="-304776">
              <a:spcBef>
                <a:spcPts val="1067"/>
              </a:spcBef>
              <a:buSzPct val="80000"/>
              <a:buFont typeface="+mj-lt"/>
              <a:buAutoNum type="arabicPeriod"/>
              <a:defRPr sz="1867">
                <a:solidFill>
                  <a:srgbClr val="000000"/>
                </a:solidFill>
              </a:defRPr>
            </a:lvl5pPr>
            <a:lvl6pPr marL="1024052" indent="-304776">
              <a:spcBef>
                <a:spcPts val="400"/>
              </a:spcBef>
              <a:buSzPct val="80000"/>
              <a:buFont typeface="+mj-lt"/>
              <a:buAutoNum type="arabicPeriod"/>
              <a:tabLst/>
              <a:defRPr sz="2133">
                <a:solidFill>
                  <a:schemeClr val="tx1"/>
                </a:solidFill>
                <a:latin typeface="+mn-lt"/>
              </a:defRPr>
            </a:lvl6pPr>
            <a:lvl7pPr marL="1401976" indent="-302660">
              <a:spcBef>
                <a:spcPts val="400"/>
              </a:spcBef>
              <a:buSzPct val="80000"/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</a:defRPr>
            </a:lvl7pPr>
            <a:lvl8pPr marL="302660" indent="0">
              <a:spcBef>
                <a:spcPts val="1600"/>
              </a:spcBef>
              <a:buSzPct val="80000"/>
              <a:buFont typeface="+mj-lt"/>
              <a:buNone/>
              <a:defRPr sz="2667">
                <a:solidFill>
                  <a:schemeClr val="accent1"/>
                </a:solidFill>
                <a:latin typeface="Graphik Black"/>
                <a:cs typeface="Graphik Black"/>
              </a:defRPr>
            </a:lvl8pPr>
            <a:lvl9pPr marL="304776" indent="0">
              <a:spcBef>
                <a:spcPts val="1600"/>
              </a:spcBef>
              <a:buSzPct val="80000"/>
              <a:buFont typeface="+mj-lt"/>
              <a:buNone/>
              <a:defRPr sz="2667">
                <a:solidFill>
                  <a:schemeClr val="tx1"/>
                </a:solidFill>
                <a:latin typeface="Graphik Black"/>
                <a:cs typeface="Graphik Black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1756" y="878944"/>
            <a:ext cx="10783555" cy="560336"/>
          </a:xfrm>
        </p:spPr>
        <p:txBody>
          <a:bodyPr/>
          <a:lstStyle>
            <a:lvl1pPr marL="0">
              <a:defRPr sz="1467" i="1">
                <a:solidFill>
                  <a:srgbClr val="007DC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7B7BDD-B48E-43CB-BF40-20E05595E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400" y="6375401"/>
            <a:ext cx="609600" cy="3661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333" b="0" i="0">
                <a:solidFill>
                  <a:schemeClr val="bg1"/>
                </a:solidFill>
              </a:defRPr>
            </a:lvl1pPr>
          </a:lstStyle>
          <a:p>
            <a:fld id="{79610DEB-B539-4097-9140-E362E27F91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4962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711200" y="3327400"/>
            <a:ext cx="6197600" cy="7315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267">
                <a:solidFill>
                  <a:schemeClr val="bg1"/>
                </a:solidFill>
              </a:defRPr>
            </a:lvl1pPr>
            <a:lvl2pPr marL="609585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1219170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1828754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2438339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711200" y="4140200"/>
            <a:ext cx="6197600" cy="609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2"/>
                </a:solidFill>
              </a:defRPr>
            </a:lvl1pPr>
            <a:lvl2pPr marL="609585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1219170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1828754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2438339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0568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177801"/>
            <a:ext cx="10972800" cy="5122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400" y="6375401"/>
            <a:ext cx="609600" cy="3661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333" b="0" i="0">
                <a:solidFill>
                  <a:schemeClr val="bg1"/>
                </a:solidFill>
              </a:defRPr>
            </a:lvl1pPr>
          </a:lstStyle>
          <a:p>
            <a:fld id="{79610DEB-B539-4097-9140-E362E27F911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 hasCustomPrompt="1"/>
          </p:nvPr>
        </p:nvSpPr>
        <p:spPr>
          <a:xfrm>
            <a:off x="203200" y="787400"/>
            <a:ext cx="11684000" cy="406400"/>
          </a:xfrm>
          <a:prstGeom prst="rect">
            <a:avLst/>
          </a:prstGeom>
        </p:spPr>
        <p:txBody>
          <a:bodyPr/>
          <a:lstStyle>
            <a:lvl1pPr>
              <a:defRPr sz="1867" baseline="0"/>
            </a:lvl1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68811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609600" y="1352141"/>
            <a:ext cx="10972800" cy="467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400" y="6375401"/>
            <a:ext cx="609600" cy="3661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333" b="0" i="0">
                <a:solidFill>
                  <a:schemeClr val="bg1"/>
                </a:solidFill>
              </a:defRPr>
            </a:lvl1pPr>
          </a:lstStyle>
          <a:p>
            <a:fld id="{79610DEB-B539-4097-9140-E362E27F911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3860800" y="6375823"/>
            <a:ext cx="7620000" cy="365760"/>
          </a:xfrm>
          <a:prstGeom prst="rect">
            <a:avLst/>
          </a:prstGeom>
        </p:spPr>
        <p:txBody>
          <a:bodyPr anchor="b"/>
          <a:lstStyle>
            <a:lvl1pPr indent="0" algn="r">
              <a:spcBef>
                <a:spcPts val="0"/>
              </a:spcBef>
              <a:defRPr sz="1333">
                <a:solidFill>
                  <a:schemeClr val="bg1"/>
                </a:solidFill>
              </a:defRPr>
            </a:lvl1pPr>
            <a:lvl2pPr indent="0">
              <a:spcBef>
                <a:spcPts val="0"/>
              </a:spcBef>
              <a:defRPr sz="1333">
                <a:solidFill>
                  <a:schemeClr val="bg1"/>
                </a:solidFill>
              </a:defRPr>
            </a:lvl2pPr>
            <a:lvl3pPr indent="0">
              <a:spcBef>
                <a:spcPts val="0"/>
              </a:spcBef>
              <a:defRPr sz="1333">
                <a:solidFill>
                  <a:schemeClr val="bg1"/>
                </a:solidFill>
              </a:defRPr>
            </a:lvl3pPr>
            <a:lvl4pPr indent="0">
              <a:spcBef>
                <a:spcPts val="0"/>
              </a:spcBef>
              <a:defRPr sz="1333">
                <a:solidFill>
                  <a:schemeClr val="bg1"/>
                </a:solidFill>
              </a:defRPr>
            </a:lvl4pPr>
            <a:lvl5pPr indent="0">
              <a:spcBef>
                <a:spcPts val="0"/>
              </a:spcBef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lidedoc footer</a:t>
            </a:r>
          </a:p>
        </p:txBody>
      </p:sp>
      <p:sp>
        <p:nvSpPr>
          <p:cNvPr id="15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203200" y="787400"/>
            <a:ext cx="11684000" cy="406400"/>
          </a:xfrm>
          <a:prstGeom prst="rect">
            <a:avLst/>
          </a:prstGeom>
        </p:spPr>
        <p:txBody>
          <a:bodyPr/>
          <a:lstStyle>
            <a:lvl1pPr>
              <a:defRPr sz="1867" baseline="0"/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3200" y="175385"/>
            <a:ext cx="10972800" cy="5122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20579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756" y="313653"/>
            <a:ext cx="10783555" cy="481185"/>
          </a:xfrm>
        </p:spPr>
        <p:txBody>
          <a:bodyPr rIns="0"/>
          <a:lstStyle>
            <a:lvl1pPr marL="0">
              <a:defRPr sz="2133" b="1">
                <a:solidFill>
                  <a:srgbClr val="007DC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311771" y="2083725"/>
            <a:ext cx="10783544" cy="4369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600"/>
              </a:spcBef>
              <a:defRPr sz="2133">
                <a:solidFill>
                  <a:srgbClr val="000000"/>
                </a:solidFill>
              </a:defRPr>
            </a:lvl1pPr>
            <a:lvl2pPr marL="646128" indent="-306895" defTabSz="681518">
              <a:spcBef>
                <a:spcPts val="1067"/>
              </a:spcBef>
              <a:buSzPct val="80000"/>
              <a:buFont typeface="Arial"/>
              <a:buChar char="•"/>
              <a:defRPr sz="1867" b="0">
                <a:solidFill>
                  <a:srgbClr val="000000"/>
                </a:solidFill>
                <a:latin typeface="+mn-lt"/>
                <a:cs typeface="Graphik Black"/>
              </a:defRPr>
            </a:lvl2pPr>
            <a:lvl3pPr marL="1024052" indent="-306895">
              <a:spcBef>
                <a:spcPts val="400"/>
              </a:spcBef>
              <a:buSzPct val="80000"/>
              <a:buFont typeface="Lucida Grande"/>
              <a:buChar char="—"/>
              <a:defRPr sz="1600">
                <a:solidFill>
                  <a:srgbClr val="000000"/>
                </a:solidFill>
                <a:latin typeface="+mn-lt"/>
                <a:cs typeface="Graphik Black"/>
              </a:defRPr>
            </a:lvl3pPr>
            <a:lvl4pPr marL="1401976" indent="-304776">
              <a:spcBef>
                <a:spcPts val="400"/>
              </a:spcBef>
              <a:buSzPct val="80000"/>
              <a:buFont typeface="Arial"/>
              <a:buChar char="•"/>
              <a:tabLst/>
              <a:defRPr sz="1400">
                <a:solidFill>
                  <a:srgbClr val="000000"/>
                </a:solidFill>
              </a:defRPr>
            </a:lvl4pPr>
            <a:lvl5pPr marL="646128" indent="-304776">
              <a:spcBef>
                <a:spcPts val="1067"/>
              </a:spcBef>
              <a:buSzPct val="80000"/>
              <a:buFont typeface="+mj-lt"/>
              <a:buAutoNum type="arabicPeriod"/>
              <a:defRPr sz="1867">
                <a:solidFill>
                  <a:srgbClr val="000000"/>
                </a:solidFill>
              </a:defRPr>
            </a:lvl5pPr>
            <a:lvl6pPr marL="1024052" indent="-304776">
              <a:spcBef>
                <a:spcPts val="400"/>
              </a:spcBef>
              <a:buSzPct val="80000"/>
              <a:buFont typeface="+mj-lt"/>
              <a:buAutoNum type="arabicPeriod"/>
              <a:tabLst/>
              <a:defRPr sz="2133">
                <a:solidFill>
                  <a:schemeClr val="tx1"/>
                </a:solidFill>
                <a:latin typeface="+mn-lt"/>
              </a:defRPr>
            </a:lvl6pPr>
            <a:lvl7pPr marL="1401976" indent="-302660">
              <a:spcBef>
                <a:spcPts val="400"/>
              </a:spcBef>
              <a:buSzPct val="80000"/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</a:defRPr>
            </a:lvl7pPr>
            <a:lvl8pPr marL="302660" indent="0">
              <a:spcBef>
                <a:spcPts val="1600"/>
              </a:spcBef>
              <a:buSzPct val="80000"/>
              <a:buFont typeface="+mj-lt"/>
              <a:buNone/>
              <a:defRPr sz="2667">
                <a:solidFill>
                  <a:schemeClr val="accent1"/>
                </a:solidFill>
                <a:latin typeface="Graphik Black"/>
                <a:cs typeface="Graphik Black"/>
              </a:defRPr>
            </a:lvl8pPr>
            <a:lvl9pPr marL="304776" indent="0">
              <a:spcBef>
                <a:spcPts val="1600"/>
              </a:spcBef>
              <a:buSzPct val="80000"/>
              <a:buFont typeface="+mj-lt"/>
              <a:buNone/>
              <a:defRPr sz="2667">
                <a:solidFill>
                  <a:schemeClr val="tx1"/>
                </a:solidFill>
                <a:latin typeface="Graphik Black"/>
                <a:cs typeface="Graphik Black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1756" y="878944"/>
            <a:ext cx="10783555" cy="560336"/>
          </a:xfrm>
        </p:spPr>
        <p:txBody>
          <a:bodyPr/>
          <a:lstStyle>
            <a:lvl1pPr marL="0">
              <a:defRPr sz="1467" i="1">
                <a:solidFill>
                  <a:srgbClr val="007DC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7B7BDD-B48E-43CB-BF40-20E05595E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400" y="6375401"/>
            <a:ext cx="609600" cy="3661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333" b="0" i="0">
                <a:solidFill>
                  <a:schemeClr val="bg1"/>
                </a:solidFill>
              </a:defRPr>
            </a:lvl1pPr>
          </a:lstStyle>
          <a:p>
            <a:fld id="{79610DEB-B539-4097-9140-E362E27F91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5132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4895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711200" y="3327400"/>
            <a:ext cx="6197600" cy="7315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267">
                <a:solidFill>
                  <a:schemeClr val="bg1"/>
                </a:solidFill>
              </a:defRPr>
            </a:lvl1pPr>
            <a:lvl2pPr marL="609585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1219170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1828754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2438339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711200" y="4140200"/>
            <a:ext cx="6197600" cy="609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2"/>
                </a:solidFill>
              </a:defRPr>
            </a:lvl1pPr>
            <a:lvl2pPr marL="609585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1219170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1828754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2438339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7805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177801"/>
            <a:ext cx="10972800" cy="5122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400" y="6375401"/>
            <a:ext cx="609600" cy="3661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333" b="0" i="0">
                <a:solidFill>
                  <a:schemeClr val="bg1"/>
                </a:solidFill>
              </a:defRPr>
            </a:lvl1pPr>
          </a:lstStyle>
          <a:p>
            <a:fld id="{79610DEB-B539-4097-9140-E362E27F911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 hasCustomPrompt="1"/>
          </p:nvPr>
        </p:nvSpPr>
        <p:spPr>
          <a:xfrm>
            <a:off x="203200" y="787400"/>
            <a:ext cx="11684000" cy="406400"/>
          </a:xfrm>
          <a:prstGeom prst="rect">
            <a:avLst/>
          </a:prstGeom>
        </p:spPr>
        <p:txBody>
          <a:bodyPr/>
          <a:lstStyle>
            <a:lvl1pPr>
              <a:defRPr sz="1867" baseline="0"/>
            </a:lvl1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6932152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86E867D-40D6-6A42-A0D4-44C536F1A7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5940" y="1832104"/>
            <a:ext cx="5191125" cy="2877711"/>
          </a:xfrm>
          <a:prstGeom prst="rect">
            <a:avLst/>
          </a:prstGeom>
        </p:spPr>
        <p:txBody>
          <a:bodyPr>
            <a:spAutoFit/>
          </a:bodyPr>
          <a:lstStyle>
            <a:lvl1pPr marL="287338" indent="-277813">
              <a:spcBef>
                <a:spcPts val="0"/>
              </a:spcBef>
              <a:buNone/>
              <a:tabLst/>
              <a:defRPr sz="4000">
                <a:solidFill>
                  <a:schemeClr val="bg1"/>
                </a:solidFill>
                <a:latin typeface="Bogle" panose="020B050302020306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  <a:latin typeface="Bogle" panose="020B0503020203060203" pitchFamily="34" charset="77"/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  <a:latin typeface="Bogle" panose="020B0503020203060203" pitchFamily="34" charset="77"/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  <a:latin typeface="Bogle" panose="020B0503020203060203" pitchFamily="34" charset="77"/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  <a:latin typeface="Bogle" panose="020B0503020203060203" pitchFamily="34" charset="77"/>
              </a:defRPr>
            </a:lvl5pPr>
          </a:lstStyle>
          <a:p>
            <a:pPr lvl="0"/>
            <a:r>
              <a:rPr lang="en-US"/>
              <a:t>}</a:t>
            </a:r>
            <a:br>
              <a:rPr lang="en-US"/>
            </a:br>
            <a:r>
              <a:rPr lang="en-US"/>
              <a:t>Here’s a header</a:t>
            </a:r>
            <a:br>
              <a:rPr lang="en-US"/>
            </a:br>
            <a:r>
              <a:rPr lang="en-US"/>
              <a:t>for a title slide.</a:t>
            </a:r>
            <a:br>
              <a:rPr lang="en-US"/>
            </a:br>
            <a:r>
              <a:rPr lang="en-US"/>
              <a:t>#00/00/2020</a:t>
            </a:r>
          </a:p>
          <a:p>
            <a:pPr lvl="0"/>
            <a:r>
              <a:rPr lang="en-US"/>
              <a:t>}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F450B1-87A8-BE4C-9067-618FF8B34F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221" y="6433093"/>
            <a:ext cx="1688606" cy="203486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3EC159C-2618-614C-9553-C2DBD756A6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70005" y="6434343"/>
            <a:ext cx="2697276" cy="295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Bogle" panose="020B0503020203060203" pitchFamily="34" charset="77"/>
              </a:defRPr>
            </a:lvl1pPr>
            <a:lvl2pPr marL="457200" indent="0">
              <a:buNone/>
              <a:defRPr sz="1200">
                <a:solidFill>
                  <a:schemeClr val="bg1"/>
                </a:solidFill>
                <a:latin typeface="Bogle" panose="020B0503020203060203" pitchFamily="34" charset="77"/>
              </a:defRPr>
            </a:lvl2pPr>
            <a:lvl3pPr marL="914400" indent="0">
              <a:buNone/>
              <a:defRPr sz="1100">
                <a:solidFill>
                  <a:schemeClr val="bg1"/>
                </a:solidFill>
                <a:latin typeface="Bogle" panose="020B0503020203060203" pitchFamily="34" charset="77"/>
              </a:defRPr>
            </a:lvl3pPr>
            <a:lvl4pPr marL="1371600" indent="0">
              <a:buNone/>
              <a:defRPr sz="1050">
                <a:solidFill>
                  <a:schemeClr val="bg1"/>
                </a:solidFill>
                <a:latin typeface="Bogle" panose="020B0503020203060203" pitchFamily="34" charset="77"/>
              </a:defRPr>
            </a:lvl4pPr>
            <a:lvl5pPr marL="1828800" indent="0">
              <a:buNone/>
              <a:defRPr sz="1050">
                <a:solidFill>
                  <a:schemeClr val="bg1"/>
                </a:solidFill>
                <a:latin typeface="Bogle" panose="020B0503020203060203" pitchFamily="34" charset="77"/>
              </a:defRPr>
            </a:lvl5pPr>
          </a:lstStyle>
          <a:p>
            <a:pPr lvl="0"/>
            <a:r>
              <a:rPr lang="en-US"/>
              <a:t>// insert Team Name (optional) </a:t>
            </a:r>
          </a:p>
        </p:txBody>
      </p:sp>
    </p:spTree>
    <p:extLst>
      <p:ext uri="{BB962C8B-B14F-4D97-AF65-F5344CB8AC3E}">
        <p14:creationId xmlns:p14="http://schemas.microsoft.com/office/powerpoint/2010/main" val="9524155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609600" y="1352141"/>
            <a:ext cx="10972800" cy="467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400" y="6375401"/>
            <a:ext cx="609600" cy="3661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333" b="0" i="0">
                <a:solidFill>
                  <a:schemeClr val="bg1"/>
                </a:solidFill>
              </a:defRPr>
            </a:lvl1pPr>
          </a:lstStyle>
          <a:p>
            <a:fld id="{79610DEB-B539-4097-9140-E362E27F911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3860800" y="6375823"/>
            <a:ext cx="7620000" cy="365760"/>
          </a:xfrm>
          <a:prstGeom prst="rect">
            <a:avLst/>
          </a:prstGeom>
        </p:spPr>
        <p:txBody>
          <a:bodyPr anchor="b"/>
          <a:lstStyle>
            <a:lvl1pPr indent="0" algn="r">
              <a:spcBef>
                <a:spcPts val="0"/>
              </a:spcBef>
              <a:defRPr sz="1333">
                <a:solidFill>
                  <a:schemeClr val="bg1"/>
                </a:solidFill>
              </a:defRPr>
            </a:lvl1pPr>
            <a:lvl2pPr indent="0">
              <a:spcBef>
                <a:spcPts val="0"/>
              </a:spcBef>
              <a:defRPr sz="1333">
                <a:solidFill>
                  <a:schemeClr val="bg1"/>
                </a:solidFill>
              </a:defRPr>
            </a:lvl2pPr>
            <a:lvl3pPr indent="0">
              <a:spcBef>
                <a:spcPts val="0"/>
              </a:spcBef>
              <a:defRPr sz="1333">
                <a:solidFill>
                  <a:schemeClr val="bg1"/>
                </a:solidFill>
              </a:defRPr>
            </a:lvl3pPr>
            <a:lvl4pPr indent="0">
              <a:spcBef>
                <a:spcPts val="0"/>
              </a:spcBef>
              <a:defRPr sz="1333">
                <a:solidFill>
                  <a:schemeClr val="bg1"/>
                </a:solidFill>
              </a:defRPr>
            </a:lvl4pPr>
            <a:lvl5pPr indent="0">
              <a:spcBef>
                <a:spcPts val="0"/>
              </a:spcBef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lidedoc footer</a:t>
            </a:r>
          </a:p>
        </p:txBody>
      </p:sp>
      <p:sp>
        <p:nvSpPr>
          <p:cNvPr id="15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203200" y="787400"/>
            <a:ext cx="11684000" cy="406400"/>
          </a:xfrm>
          <a:prstGeom prst="rect">
            <a:avLst/>
          </a:prstGeom>
        </p:spPr>
        <p:txBody>
          <a:bodyPr/>
          <a:lstStyle>
            <a:lvl1pPr>
              <a:defRPr sz="1867" baseline="0"/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3200" y="175385"/>
            <a:ext cx="10972800" cy="5122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38932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756" y="313653"/>
            <a:ext cx="10783555" cy="481185"/>
          </a:xfrm>
        </p:spPr>
        <p:txBody>
          <a:bodyPr rIns="0"/>
          <a:lstStyle>
            <a:lvl1pPr marL="0">
              <a:defRPr sz="2133" b="1">
                <a:solidFill>
                  <a:srgbClr val="007DC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311771" y="2083725"/>
            <a:ext cx="10783544" cy="4369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600"/>
              </a:spcBef>
              <a:defRPr sz="2133">
                <a:solidFill>
                  <a:srgbClr val="000000"/>
                </a:solidFill>
              </a:defRPr>
            </a:lvl1pPr>
            <a:lvl2pPr marL="646128" indent="-306895" defTabSz="681518">
              <a:spcBef>
                <a:spcPts val="1067"/>
              </a:spcBef>
              <a:buSzPct val="80000"/>
              <a:buFont typeface="Arial"/>
              <a:buChar char="•"/>
              <a:defRPr sz="1867" b="0">
                <a:solidFill>
                  <a:srgbClr val="000000"/>
                </a:solidFill>
                <a:latin typeface="+mn-lt"/>
                <a:cs typeface="Graphik Black"/>
              </a:defRPr>
            </a:lvl2pPr>
            <a:lvl3pPr marL="1024052" indent="-306895">
              <a:spcBef>
                <a:spcPts val="400"/>
              </a:spcBef>
              <a:buSzPct val="80000"/>
              <a:buFont typeface="Lucida Grande"/>
              <a:buChar char="—"/>
              <a:defRPr sz="1600">
                <a:solidFill>
                  <a:srgbClr val="000000"/>
                </a:solidFill>
                <a:latin typeface="+mn-lt"/>
                <a:cs typeface="Graphik Black"/>
              </a:defRPr>
            </a:lvl3pPr>
            <a:lvl4pPr marL="1401976" indent="-304776">
              <a:spcBef>
                <a:spcPts val="400"/>
              </a:spcBef>
              <a:buSzPct val="80000"/>
              <a:buFont typeface="Arial"/>
              <a:buChar char="•"/>
              <a:tabLst/>
              <a:defRPr sz="1400">
                <a:solidFill>
                  <a:srgbClr val="000000"/>
                </a:solidFill>
              </a:defRPr>
            </a:lvl4pPr>
            <a:lvl5pPr marL="646128" indent="-304776">
              <a:spcBef>
                <a:spcPts val="1067"/>
              </a:spcBef>
              <a:buSzPct val="80000"/>
              <a:buFont typeface="+mj-lt"/>
              <a:buAutoNum type="arabicPeriod"/>
              <a:defRPr sz="1867">
                <a:solidFill>
                  <a:srgbClr val="000000"/>
                </a:solidFill>
              </a:defRPr>
            </a:lvl5pPr>
            <a:lvl6pPr marL="1024052" indent="-304776">
              <a:spcBef>
                <a:spcPts val="400"/>
              </a:spcBef>
              <a:buSzPct val="80000"/>
              <a:buFont typeface="+mj-lt"/>
              <a:buAutoNum type="arabicPeriod"/>
              <a:tabLst/>
              <a:defRPr sz="2133">
                <a:solidFill>
                  <a:schemeClr val="tx1"/>
                </a:solidFill>
                <a:latin typeface="+mn-lt"/>
              </a:defRPr>
            </a:lvl6pPr>
            <a:lvl7pPr marL="1401976" indent="-302660">
              <a:spcBef>
                <a:spcPts val="400"/>
              </a:spcBef>
              <a:buSzPct val="80000"/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</a:defRPr>
            </a:lvl7pPr>
            <a:lvl8pPr marL="302660" indent="0">
              <a:spcBef>
                <a:spcPts val="1600"/>
              </a:spcBef>
              <a:buSzPct val="80000"/>
              <a:buFont typeface="+mj-lt"/>
              <a:buNone/>
              <a:defRPr sz="2667">
                <a:solidFill>
                  <a:schemeClr val="accent1"/>
                </a:solidFill>
                <a:latin typeface="Graphik Black"/>
                <a:cs typeface="Graphik Black"/>
              </a:defRPr>
            </a:lvl8pPr>
            <a:lvl9pPr marL="304776" indent="0">
              <a:spcBef>
                <a:spcPts val="1600"/>
              </a:spcBef>
              <a:buSzPct val="80000"/>
              <a:buFont typeface="+mj-lt"/>
              <a:buNone/>
              <a:defRPr sz="2667">
                <a:solidFill>
                  <a:schemeClr val="tx1"/>
                </a:solidFill>
                <a:latin typeface="Graphik Black"/>
                <a:cs typeface="Graphik Black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1756" y="878944"/>
            <a:ext cx="10783555" cy="560336"/>
          </a:xfrm>
        </p:spPr>
        <p:txBody>
          <a:bodyPr/>
          <a:lstStyle>
            <a:lvl1pPr marL="0">
              <a:defRPr sz="1467" i="1">
                <a:solidFill>
                  <a:srgbClr val="007DC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7B7BDD-B48E-43CB-BF40-20E05595E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400" y="6375401"/>
            <a:ext cx="609600" cy="3661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333" b="0" i="0">
                <a:solidFill>
                  <a:schemeClr val="bg1"/>
                </a:solidFill>
              </a:defRPr>
            </a:lvl1pPr>
          </a:lstStyle>
          <a:p>
            <a:fld id="{79610DEB-B539-4097-9140-E362E27F91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7315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42678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711200" y="3327400"/>
            <a:ext cx="6197600" cy="7315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267">
                <a:solidFill>
                  <a:schemeClr val="bg1"/>
                </a:solidFill>
              </a:defRPr>
            </a:lvl1pPr>
            <a:lvl2pPr marL="609585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1219170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1828754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2438339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711200" y="4140200"/>
            <a:ext cx="6197600" cy="609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2"/>
                </a:solidFill>
              </a:defRPr>
            </a:lvl1pPr>
            <a:lvl2pPr marL="609585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1219170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1828754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2438339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0137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177801"/>
            <a:ext cx="10972800" cy="5122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400" y="6375401"/>
            <a:ext cx="609600" cy="3661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333" b="0" i="0">
                <a:solidFill>
                  <a:schemeClr val="bg1"/>
                </a:solidFill>
              </a:defRPr>
            </a:lvl1pPr>
          </a:lstStyle>
          <a:p>
            <a:fld id="{79610DEB-B539-4097-9140-E362E27F911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 hasCustomPrompt="1"/>
          </p:nvPr>
        </p:nvSpPr>
        <p:spPr>
          <a:xfrm>
            <a:off x="203200" y="787400"/>
            <a:ext cx="11684000" cy="406400"/>
          </a:xfrm>
          <a:prstGeom prst="rect">
            <a:avLst/>
          </a:prstGeom>
        </p:spPr>
        <p:txBody>
          <a:bodyPr/>
          <a:lstStyle>
            <a:lvl1pPr>
              <a:defRPr sz="1867" baseline="0"/>
            </a:lvl1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8687434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609600" y="1352141"/>
            <a:ext cx="10972800" cy="467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400" y="6375401"/>
            <a:ext cx="609600" cy="3661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333" b="0" i="0">
                <a:solidFill>
                  <a:schemeClr val="bg1"/>
                </a:solidFill>
              </a:defRPr>
            </a:lvl1pPr>
          </a:lstStyle>
          <a:p>
            <a:fld id="{79610DEB-B539-4097-9140-E362E27F911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3860800" y="6375823"/>
            <a:ext cx="7620000" cy="365760"/>
          </a:xfrm>
          <a:prstGeom prst="rect">
            <a:avLst/>
          </a:prstGeom>
        </p:spPr>
        <p:txBody>
          <a:bodyPr anchor="b"/>
          <a:lstStyle>
            <a:lvl1pPr indent="0" algn="r">
              <a:spcBef>
                <a:spcPts val="0"/>
              </a:spcBef>
              <a:defRPr sz="1333">
                <a:solidFill>
                  <a:schemeClr val="bg1"/>
                </a:solidFill>
              </a:defRPr>
            </a:lvl1pPr>
            <a:lvl2pPr indent="0">
              <a:spcBef>
                <a:spcPts val="0"/>
              </a:spcBef>
              <a:defRPr sz="1333">
                <a:solidFill>
                  <a:schemeClr val="bg1"/>
                </a:solidFill>
              </a:defRPr>
            </a:lvl2pPr>
            <a:lvl3pPr indent="0">
              <a:spcBef>
                <a:spcPts val="0"/>
              </a:spcBef>
              <a:defRPr sz="1333">
                <a:solidFill>
                  <a:schemeClr val="bg1"/>
                </a:solidFill>
              </a:defRPr>
            </a:lvl3pPr>
            <a:lvl4pPr indent="0">
              <a:spcBef>
                <a:spcPts val="0"/>
              </a:spcBef>
              <a:defRPr sz="1333">
                <a:solidFill>
                  <a:schemeClr val="bg1"/>
                </a:solidFill>
              </a:defRPr>
            </a:lvl4pPr>
            <a:lvl5pPr indent="0">
              <a:spcBef>
                <a:spcPts val="0"/>
              </a:spcBef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lidedoc footer</a:t>
            </a:r>
          </a:p>
        </p:txBody>
      </p:sp>
      <p:sp>
        <p:nvSpPr>
          <p:cNvPr id="15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203200" y="787400"/>
            <a:ext cx="11684000" cy="406400"/>
          </a:xfrm>
          <a:prstGeom prst="rect">
            <a:avLst/>
          </a:prstGeom>
        </p:spPr>
        <p:txBody>
          <a:bodyPr/>
          <a:lstStyle>
            <a:lvl1pPr>
              <a:defRPr sz="1867" baseline="0"/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3200" y="175385"/>
            <a:ext cx="10972800" cy="5122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8482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756" y="313653"/>
            <a:ext cx="10783555" cy="481185"/>
          </a:xfrm>
        </p:spPr>
        <p:txBody>
          <a:bodyPr rIns="0"/>
          <a:lstStyle>
            <a:lvl1pPr marL="0">
              <a:defRPr sz="2133" b="1">
                <a:solidFill>
                  <a:srgbClr val="007DC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311771" y="2083725"/>
            <a:ext cx="10783544" cy="4369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600"/>
              </a:spcBef>
              <a:defRPr sz="2133">
                <a:solidFill>
                  <a:srgbClr val="000000"/>
                </a:solidFill>
              </a:defRPr>
            </a:lvl1pPr>
            <a:lvl2pPr marL="646128" indent="-306895" defTabSz="681518">
              <a:spcBef>
                <a:spcPts val="1067"/>
              </a:spcBef>
              <a:buSzPct val="80000"/>
              <a:buFont typeface="Arial"/>
              <a:buChar char="•"/>
              <a:defRPr sz="1867" b="0">
                <a:solidFill>
                  <a:srgbClr val="000000"/>
                </a:solidFill>
                <a:latin typeface="+mn-lt"/>
                <a:cs typeface="Graphik Black"/>
              </a:defRPr>
            </a:lvl2pPr>
            <a:lvl3pPr marL="1024052" indent="-306895">
              <a:spcBef>
                <a:spcPts val="400"/>
              </a:spcBef>
              <a:buSzPct val="80000"/>
              <a:buFont typeface="Lucida Grande"/>
              <a:buChar char="—"/>
              <a:defRPr sz="1600">
                <a:solidFill>
                  <a:srgbClr val="000000"/>
                </a:solidFill>
                <a:latin typeface="+mn-lt"/>
                <a:cs typeface="Graphik Black"/>
              </a:defRPr>
            </a:lvl3pPr>
            <a:lvl4pPr marL="1401976" indent="-304776">
              <a:spcBef>
                <a:spcPts val="400"/>
              </a:spcBef>
              <a:buSzPct val="80000"/>
              <a:buFont typeface="Arial"/>
              <a:buChar char="•"/>
              <a:tabLst/>
              <a:defRPr sz="1400">
                <a:solidFill>
                  <a:srgbClr val="000000"/>
                </a:solidFill>
              </a:defRPr>
            </a:lvl4pPr>
            <a:lvl5pPr marL="646128" indent="-304776">
              <a:spcBef>
                <a:spcPts val="1067"/>
              </a:spcBef>
              <a:buSzPct val="80000"/>
              <a:buFont typeface="+mj-lt"/>
              <a:buAutoNum type="arabicPeriod"/>
              <a:defRPr sz="1867">
                <a:solidFill>
                  <a:srgbClr val="000000"/>
                </a:solidFill>
              </a:defRPr>
            </a:lvl5pPr>
            <a:lvl6pPr marL="1024052" indent="-304776">
              <a:spcBef>
                <a:spcPts val="400"/>
              </a:spcBef>
              <a:buSzPct val="80000"/>
              <a:buFont typeface="+mj-lt"/>
              <a:buAutoNum type="arabicPeriod"/>
              <a:tabLst/>
              <a:defRPr sz="2133">
                <a:solidFill>
                  <a:schemeClr val="tx1"/>
                </a:solidFill>
                <a:latin typeface="+mn-lt"/>
              </a:defRPr>
            </a:lvl6pPr>
            <a:lvl7pPr marL="1401976" indent="-302660">
              <a:spcBef>
                <a:spcPts val="400"/>
              </a:spcBef>
              <a:buSzPct val="80000"/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</a:defRPr>
            </a:lvl7pPr>
            <a:lvl8pPr marL="302660" indent="0">
              <a:spcBef>
                <a:spcPts val="1600"/>
              </a:spcBef>
              <a:buSzPct val="80000"/>
              <a:buFont typeface="+mj-lt"/>
              <a:buNone/>
              <a:defRPr sz="2667">
                <a:solidFill>
                  <a:schemeClr val="accent1"/>
                </a:solidFill>
                <a:latin typeface="Graphik Black"/>
                <a:cs typeface="Graphik Black"/>
              </a:defRPr>
            </a:lvl8pPr>
            <a:lvl9pPr marL="304776" indent="0">
              <a:spcBef>
                <a:spcPts val="1600"/>
              </a:spcBef>
              <a:buSzPct val="80000"/>
              <a:buFont typeface="+mj-lt"/>
              <a:buNone/>
              <a:defRPr sz="2667">
                <a:solidFill>
                  <a:schemeClr val="tx1"/>
                </a:solidFill>
                <a:latin typeface="Graphik Black"/>
                <a:cs typeface="Graphik Black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1756" y="878944"/>
            <a:ext cx="10783555" cy="560336"/>
          </a:xfrm>
        </p:spPr>
        <p:txBody>
          <a:bodyPr/>
          <a:lstStyle>
            <a:lvl1pPr marL="0">
              <a:defRPr sz="1467" i="1">
                <a:solidFill>
                  <a:srgbClr val="007DC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7B7BDD-B48E-43CB-BF40-20E05595E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400" y="6375401"/>
            <a:ext cx="609600" cy="3661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333" b="0" i="0">
                <a:solidFill>
                  <a:schemeClr val="bg1"/>
                </a:solidFill>
              </a:defRPr>
            </a:lvl1pPr>
          </a:lstStyle>
          <a:p>
            <a:fld id="{79610DEB-B539-4097-9140-E362E27F91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3213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50251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DFC63569-97E5-704B-A1E3-49FEC0E7C8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Rectangle">
            <a:extLst>
              <a:ext uri="{FF2B5EF4-FFF2-40B4-BE49-F238E27FC236}">
                <a16:creationId xmlns:a16="http://schemas.microsoft.com/office/drawing/2014/main" id="{3F9AAF46-97BB-EF4C-980D-811596D36D06}"/>
              </a:ext>
            </a:extLst>
          </p:cNvPr>
          <p:cNvSpPr/>
          <p:nvPr userDrawn="1"/>
        </p:nvSpPr>
        <p:spPr>
          <a:xfrm>
            <a:off x="-2" y="0"/>
            <a:ext cx="12192002" cy="6858000"/>
          </a:xfrm>
          <a:prstGeom prst="rect">
            <a:avLst/>
          </a:prstGeom>
          <a:solidFill>
            <a:srgbClr val="000000">
              <a:alpha val="4000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algn="ctr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76513EB-FA51-F94A-AAF8-6692712E13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0826" y="3668970"/>
            <a:ext cx="5025457" cy="49090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buNone/>
              <a:defRPr b="0">
                <a:solidFill>
                  <a:schemeClr val="accent4"/>
                </a:solidFill>
                <a:latin typeface="Bogle" panose="020B0503020203060203" pitchFamily="34" charset="77"/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//*Here’s your section titl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57A6A8C-9216-314B-B5C1-19108A5B66DF}"/>
              </a:ext>
            </a:extLst>
          </p:cNvPr>
          <p:cNvSpPr/>
          <p:nvPr userDrawn="1"/>
        </p:nvSpPr>
        <p:spPr>
          <a:xfrm>
            <a:off x="5273747" y="3497158"/>
            <a:ext cx="1639614" cy="45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067893D-D359-C546-AE8A-5CC67DFB3E1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1" y="6433093"/>
            <a:ext cx="1010918" cy="20348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214BDDD-504E-B341-96AA-7038FAC7CE0F}"/>
              </a:ext>
            </a:extLst>
          </p:cNvPr>
          <p:cNvSpPr/>
          <p:nvPr userDrawn="1"/>
        </p:nvSpPr>
        <p:spPr>
          <a:xfrm>
            <a:off x="5572902" y="2245847"/>
            <a:ext cx="1046195" cy="10461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736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DFC63569-97E5-704B-A1E3-49FEC0E7C8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Rectangle">
            <a:extLst>
              <a:ext uri="{FF2B5EF4-FFF2-40B4-BE49-F238E27FC236}">
                <a16:creationId xmlns:a16="http://schemas.microsoft.com/office/drawing/2014/main" id="{3F9AAF46-97BB-EF4C-980D-811596D36D06}"/>
              </a:ext>
            </a:extLst>
          </p:cNvPr>
          <p:cNvSpPr/>
          <p:nvPr userDrawn="1"/>
        </p:nvSpPr>
        <p:spPr>
          <a:xfrm>
            <a:off x="0" y="0"/>
            <a:ext cx="12192002" cy="6858000"/>
          </a:xfrm>
          <a:prstGeom prst="rect">
            <a:avLst/>
          </a:prstGeom>
          <a:solidFill>
            <a:srgbClr val="000000">
              <a:alpha val="4000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algn="ctr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1879225-E873-164A-8DAD-1261B96791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3272" y="2870562"/>
            <a:ext cx="5025457" cy="490904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buNone/>
              <a:defRPr b="0">
                <a:solidFill>
                  <a:schemeClr val="accent4"/>
                </a:solidFill>
                <a:latin typeface="Bogle" panose="020B0503020203060203" pitchFamily="34" charset="77"/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//*Here’s your section title.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CAB7E05-40CE-804C-A26F-E3AF375AFC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3271" y="3681724"/>
            <a:ext cx="5025458" cy="3770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buNone/>
              <a:defRPr sz="2000" b="0">
                <a:solidFill>
                  <a:schemeClr val="accent4"/>
                </a:solidFill>
                <a:latin typeface="Bogle" panose="020B0503020203060203" pitchFamily="34" charset="77"/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Here’s a subhead for your breaker slide.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6B6505B-5224-A546-A7FA-FA211F1E2653}"/>
              </a:ext>
            </a:extLst>
          </p:cNvPr>
          <p:cNvSpPr/>
          <p:nvPr userDrawn="1"/>
        </p:nvSpPr>
        <p:spPr>
          <a:xfrm>
            <a:off x="5276193" y="3497158"/>
            <a:ext cx="1639614" cy="45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84FE76A-63E5-1944-A4A9-29236C5FC1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1" y="6433093"/>
            <a:ext cx="1010918" cy="203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211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E500547F-0FC5-5E47-AACF-4BE2AB7999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3272" y="2870562"/>
            <a:ext cx="5025457" cy="490904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buNone/>
              <a:defRPr b="0">
                <a:solidFill>
                  <a:schemeClr val="accent4"/>
                </a:solidFill>
                <a:latin typeface="Bogle" panose="020B0503020203060203" pitchFamily="34" charset="77"/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{Here’s your section title.}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4BE2DD8-228B-DA48-B58D-EDE724CCF6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3271" y="3681724"/>
            <a:ext cx="5025458" cy="3770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buNone/>
              <a:defRPr sz="2000" b="0">
                <a:solidFill>
                  <a:schemeClr val="accent4"/>
                </a:solidFill>
                <a:latin typeface="Bogle" panose="020B0503020203060203" pitchFamily="34" charset="77"/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Here’s a subhead for your breaker slide.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6359113-AC0D-8142-A76F-CED7FE39A236}"/>
              </a:ext>
            </a:extLst>
          </p:cNvPr>
          <p:cNvSpPr/>
          <p:nvPr userDrawn="1"/>
        </p:nvSpPr>
        <p:spPr>
          <a:xfrm>
            <a:off x="5276193" y="3497158"/>
            <a:ext cx="1639614" cy="45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7C0C5AD-7047-0844-872A-75C8AF04C3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1" y="6433093"/>
            <a:ext cx="1010918" cy="203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9536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E500547F-0FC5-5E47-AACF-4BE2AB7999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0826" y="3668970"/>
            <a:ext cx="5025457" cy="49090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buNone/>
              <a:defRPr b="0">
                <a:solidFill>
                  <a:schemeClr val="accent4"/>
                </a:solidFill>
                <a:latin typeface="Bogle" panose="020B0503020203060203" pitchFamily="34" charset="77"/>
              </a:defRPr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{Here’s your section title.}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E138A5-66D6-004D-B258-7DA6E7A37728}"/>
              </a:ext>
            </a:extLst>
          </p:cNvPr>
          <p:cNvSpPr/>
          <p:nvPr userDrawn="1"/>
        </p:nvSpPr>
        <p:spPr>
          <a:xfrm>
            <a:off x="5273747" y="3497158"/>
            <a:ext cx="1639614" cy="45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EACCE4-CB2E-4D42-8222-9B668B7825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1" y="6433093"/>
            <a:ext cx="1010918" cy="2034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46CD1AB-B272-414C-BEE3-CC6E7A4B7A2C}"/>
              </a:ext>
            </a:extLst>
          </p:cNvPr>
          <p:cNvSpPr/>
          <p:nvPr userDrawn="1"/>
        </p:nvSpPr>
        <p:spPr>
          <a:xfrm>
            <a:off x="5572902" y="2245847"/>
            <a:ext cx="1046195" cy="10461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2524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754D75B-3313-4348-8859-1CA8C86DF5B5}"/>
              </a:ext>
            </a:extLst>
          </p:cNvPr>
          <p:cNvSpPr txBox="1"/>
          <p:nvPr userDrawn="1"/>
        </p:nvSpPr>
        <p:spPr>
          <a:xfrm>
            <a:off x="3377146" y="2955239"/>
            <a:ext cx="543770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200" b="0">
                <a:solidFill>
                  <a:schemeClr val="accent4"/>
                </a:solidFill>
                <a:latin typeface="Bogle" panose="020B0503020203060203" pitchFamily="34" charset="77"/>
              </a:rPr>
              <a:t>Thank you!();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6BBEC6D-DB7F-B246-AA1A-D8873018E8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1" y="6433093"/>
            <a:ext cx="1010918" cy="203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0058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ing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754D75B-3313-4348-8859-1CA8C86DF5B5}"/>
              </a:ext>
            </a:extLst>
          </p:cNvPr>
          <p:cNvSpPr txBox="1"/>
          <p:nvPr userDrawn="1"/>
        </p:nvSpPr>
        <p:spPr>
          <a:xfrm>
            <a:off x="639559" y="2967335"/>
            <a:ext cx="407034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0">
                <a:solidFill>
                  <a:schemeClr val="accent4"/>
                </a:solidFill>
                <a:latin typeface="Bogle" panose="020B0503020203060203" pitchFamily="34" charset="77"/>
              </a:rPr>
              <a:t>Thank you!();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2519555-B7B0-4349-A808-03EF346FC4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9559" y="3890665"/>
            <a:ext cx="4070345" cy="109645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00038" indent="-277813">
              <a:spcBef>
                <a:spcPts val="0"/>
              </a:spcBef>
              <a:buNone/>
              <a:tabLst/>
              <a:defRPr sz="1800">
                <a:solidFill>
                  <a:schemeClr val="bg1"/>
                </a:solidFill>
                <a:latin typeface="Bogle" panose="020B0503020203060203" pitchFamily="34" charset="77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  <a:latin typeface="Bogle" panose="020B0503020203060203" pitchFamily="34" charset="77"/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  <a:latin typeface="Bogle" panose="020B0503020203060203" pitchFamily="34" charset="77"/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  <a:latin typeface="Bogle" panose="020B0503020203060203" pitchFamily="34" charset="77"/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  <a:latin typeface="Bogle" panose="020B0503020203060203" pitchFamily="34" charset="77"/>
              </a:defRPr>
            </a:lvl5pPr>
          </a:lstStyle>
          <a:p>
            <a:pPr lvl="0"/>
            <a:r>
              <a:rPr lang="en-US"/>
              <a:t>}</a:t>
            </a:r>
            <a:br>
              <a:rPr lang="en-US"/>
            </a:br>
            <a:r>
              <a:rPr lang="en-US"/>
              <a:t>Presenter’s name;</a:t>
            </a:r>
            <a:br>
              <a:rPr lang="en-US"/>
            </a:br>
            <a:r>
              <a:rPr lang="en-US"/>
              <a:t>Presenter’s email</a:t>
            </a:r>
          </a:p>
          <a:p>
            <a:pPr lvl="0"/>
            <a:r>
              <a:rPr lang="en-US"/>
              <a:t>}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77A0C7F-603D-624D-A259-624B99119E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1" y="6433093"/>
            <a:ext cx="1010918" cy="20348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076F06E-3291-C349-BB08-BA358E76248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A close up of text on a white surface&#10;&#10;Description automatically generated">
            <a:extLst>
              <a:ext uri="{FF2B5EF4-FFF2-40B4-BE49-F238E27FC236}">
                <a16:creationId xmlns:a16="http://schemas.microsoft.com/office/drawing/2014/main" id="{AB8098CC-02CD-DF4A-BEC1-CDE8F13240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584" t="6803" r="19663" b="15915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00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8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41F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FD77843-9ECC-4B13-A3A4-9549E96879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26777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17" imgH="516" progId="TCLayout.ActiveDocument.1">
                  <p:embed/>
                </p:oleObj>
              </mc:Choice>
              <mc:Fallback>
                <p:oleObj name="think-cell Slide" r:id="rId15" imgW="517" imgH="5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FD77843-9ECC-4B13-A3A4-9549E96879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3702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711" r:id="rId11"/>
    <p:sldLayoutId id="214748373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1"/>
          </a:solidFill>
          <a:latin typeface="Bogle" panose="020B0503020203060203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41F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2224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1"/>
          </a:solidFill>
          <a:latin typeface="Bogle" panose="020B0503020203060203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73800"/>
            <a:ext cx="12192000" cy="584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+mn-lt"/>
            </a:endParaRPr>
          </a:p>
        </p:txBody>
      </p:sp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609600" y="478368"/>
            <a:ext cx="10972800" cy="5122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848"/>
          <a:stretch/>
        </p:blipFill>
        <p:spPr>
          <a:xfrm>
            <a:off x="215904" y="6372379"/>
            <a:ext cx="1508121" cy="387043"/>
          </a:xfrm>
          <a:prstGeom prst="rect">
            <a:avLst/>
          </a:prstGeom>
        </p:spPr>
      </p:pic>
      <p:sp>
        <p:nvSpPr>
          <p:cNvPr id="8" name="Slide Number Placeholder 15">
            <a:extLst>
              <a:ext uri="{FF2B5EF4-FFF2-40B4-BE49-F238E27FC236}">
                <a16:creationId xmlns:a16="http://schemas.microsoft.com/office/drawing/2014/main" id="{5B4FEE5D-D1F2-4B4A-B40A-A9790F6F83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400" y="6375401"/>
            <a:ext cx="609600" cy="366183"/>
          </a:xfrm>
          <a:prstGeom prst="rect">
            <a:avLst/>
          </a:prstGeom>
        </p:spPr>
        <p:txBody>
          <a:bodyPr/>
          <a:lstStyle/>
          <a:p>
            <a:pPr defTabSz="1219170"/>
            <a:fld id="{79610DEB-B539-4097-9140-E362E27F9112}" type="slidenum">
              <a:rPr lang="en-US">
                <a:solidFill>
                  <a:prstClr val="white"/>
                </a:solidFill>
                <a:latin typeface="Bogle"/>
              </a:rPr>
              <a:pPr defTabSz="1219170"/>
              <a:t>‹#›</a:t>
            </a:fld>
            <a:endParaRPr lang="en-US">
              <a:solidFill>
                <a:prstClr val="white"/>
              </a:solidFill>
              <a:latin typeface="Bogle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9063791-EB04-4CA7-BA38-59557FD6CD85}"/>
              </a:ext>
            </a:extLst>
          </p:cNvPr>
          <p:cNvCxnSpPr/>
          <p:nvPr userDrawn="1"/>
        </p:nvCxnSpPr>
        <p:spPr>
          <a:xfrm>
            <a:off x="1642334" y="6372379"/>
            <a:ext cx="0" cy="38704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EFB04FD-3287-48DA-9F53-8A3FF4C22A84}"/>
              </a:ext>
            </a:extLst>
          </p:cNvPr>
          <p:cNvSpPr txBox="1"/>
          <p:nvPr userDrawn="1"/>
        </p:nvSpPr>
        <p:spPr>
          <a:xfrm>
            <a:off x="1652226" y="6365875"/>
            <a:ext cx="447307" cy="400050"/>
          </a:xfrm>
          <a:prstGeom prst="rect">
            <a:avLst/>
          </a:prstGeom>
          <a:solidFill>
            <a:srgbClr val="0071CE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graphicFrame>
        <p:nvGraphicFramePr>
          <p:cNvPr id="3" name="Draft Stamp">
            <a:extLst>
              <a:ext uri="{FF2B5EF4-FFF2-40B4-BE49-F238E27FC236}">
                <a16:creationId xmlns:a16="http://schemas.microsoft.com/office/drawing/2014/main" id="{8F8C373E-9CD9-4831-B8E1-6D3DDB2FAF3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73888916"/>
              </p:ext>
            </p:extLst>
          </p:nvPr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val="1840919778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400" b="1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8101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8736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Clr>
          <a:schemeClr val="bg2"/>
        </a:buClr>
        <a:buSzPct val="120000"/>
        <a:buFont typeface="Arial" panose="020B0604020202020204" pitchFamily="34" charset="0"/>
        <a:buChar char="•"/>
        <a:defRPr sz="2133" kern="1200">
          <a:solidFill>
            <a:schemeClr val="accent6"/>
          </a:solidFill>
          <a:latin typeface="+mn-lt"/>
          <a:ea typeface="+mn-ea"/>
          <a:cs typeface="+mn-cs"/>
        </a:defRPr>
      </a:lvl2pPr>
      <a:lvl3pPr marL="1219170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73800"/>
            <a:ext cx="12192000" cy="584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+mn-lt"/>
            </a:endParaRPr>
          </a:p>
        </p:txBody>
      </p:sp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609600" y="478368"/>
            <a:ext cx="10972800" cy="5122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848"/>
          <a:stretch/>
        </p:blipFill>
        <p:spPr>
          <a:xfrm>
            <a:off x="215904" y="6372379"/>
            <a:ext cx="1508121" cy="387043"/>
          </a:xfrm>
          <a:prstGeom prst="rect">
            <a:avLst/>
          </a:prstGeom>
        </p:spPr>
      </p:pic>
      <p:sp>
        <p:nvSpPr>
          <p:cNvPr id="8" name="Slide Number Placeholder 15">
            <a:extLst>
              <a:ext uri="{FF2B5EF4-FFF2-40B4-BE49-F238E27FC236}">
                <a16:creationId xmlns:a16="http://schemas.microsoft.com/office/drawing/2014/main" id="{5B4FEE5D-D1F2-4B4A-B40A-A9790F6F83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400" y="6375401"/>
            <a:ext cx="609600" cy="366183"/>
          </a:xfrm>
          <a:prstGeom prst="rect">
            <a:avLst/>
          </a:prstGeom>
        </p:spPr>
        <p:txBody>
          <a:bodyPr/>
          <a:lstStyle/>
          <a:p>
            <a:pPr defTabSz="1219170"/>
            <a:fld id="{79610DEB-B539-4097-9140-E362E27F9112}" type="slidenum">
              <a:rPr lang="en-US">
                <a:solidFill>
                  <a:prstClr val="white"/>
                </a:solidFill>
                <a:latin typeface="Bogle"/>
              </a:rPr>
              <a:pPr defTabSz="1219170"/>
              <a:t>‹#›</a:t>
            </a:fld>
            <a:endParaRPr lang="en-US">
              <a:solidFill>
                <a:prstClr val="white"/>
              </a:solidFill>
              <a:latin typeface="Bogle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9063791-EB04-4CA7-BA38-59557FD6CD85}"/>
              </a:ext>
            </a:extLst>
          </p:cNvPr>
          <p:cNvCxnSpPr/>
          <p:nvPr userDrawn="1"/>
        </p:nvCxnSpPr>
        <p:spPr>
          <a:xfrm>
            <a:off x="1642334" y="6372379"/>
            <a:ext cx="0" cy="38704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EFB04FD-3287-48DA-9F53-8A3FF4C22A84}"/>
              </a:ext>
            </a:extLst>
          </p:cNvPr>
          <p:cNvSpPr txBox="1"/>
          <p:nvPr userDrawn="1"/>
        </p:nvSpPr>
        <p:spPr>
          <a:xfrm>
            <a:off x="1652226" y="6365875"/>
            <a:ext cx="447307" cy="400050"/>
          </a:xfrm>
          <a:prstGeom prst="rect">
            <a:avLst/>
          </a:prstGeom>
          <a:solidFill>
            <a:srgbClr val="0071CE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graphicFrame>
        <p:nvGraphicFramePr>
          <p:cNvPr id="3" name="Draft Stamp">
            <a:extLst>
              <a:ext uri="{FF2B5EF4-FFF2-40B4-BE49-F238E27FC236}">
                <a16:creationId xmlns:a16="http://schemas.microsoft.com/office/drawing/2014/main" id="{8F8C373E-9CD9-4831-B8E1-6D3DDB2FAF3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45449315"/>
              </p:ext>
            </p:extLst>
          </p:nvPr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val="1840919778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400" b="1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8101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5327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Clr>
          <a:schemeClr val="bg2"/>
        </a:buClr>
        <a:buSzPct val="120000"/>
        <a:buFont typeface="Arial" panose="020B0604020202020204" pitchFamily="34" charset="0"/>
        <a:buChar char="•"/>
        <a:defRPr sz="2133" kern="1200">
          <a:solidFill>
            <a:schemeClr val="accent6"/>
          </a:solidFill>
          <a:latin typeface="+mn-lt"/>
          <a:ea typeface="+mn-ea"/>
          <a:cs typeface="+mn-cs"/>
        </a:defRPr>
      </a:lvl2pPr>
      <a:lvl3pPr marL="1219170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73800"/>
            <a:ext cx="12192000" cy="584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+mn-lt"/>
            </a:endParaRPr>
          </a:p>
        </p:txBody>
      </p:sp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609600" y="478368"/>
            <a:ext cx="10972800" cy="5122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848"/>
          <a:stretch/>
        </p:blipFill>
        <p:spPr>
          <a:xfrm>
            <a:off x="215904" y="6372379"/>
            <a:ext cx="1508121" cy="387043"/>
          </a:xfrm>
          <a:prstGeom prst="rect">
            <a:avLst/>
          </a:prstGeom>
        </p:spPr>
      </p:pic>
      <p:sp>
        <p:nvSpPr>
          <p:cNvPr id="8" name="Slide Number Placeholder 15">
            <a:extLst>
              <a:ext uri="{FF2B5EF4-FFF2-40B4-BE49-F238E27FC236}">
                <a16:creationId xmlns:a16="http://schemas.microsoft.com/office/drawing/2014/main" id="{5B4FEE5D-D1F2-4B4A-B40A-A9790F6F83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400" y="6375401"/>
            <a:ext cx="609600" cy="366183"/>
          </a:xfrm>
          <a:prstGeom prst="rect">
            <a:avLst/>
          </a:prstGeom>
        </p:spPr>
        <p:txBody>
          <a:bodyPr/>
          <a:lstStyle/>
          <a:p>
            <a:pPr defTabSz="1219170"/>
            <a:fld id="{79610DEB-B539-4097-9140-E362E27F9112}" type="slidenum">
              <a:rPr lang="en-US">
                <a:solidFill>
                  <a:prstClr val="white"/>
                </a:solidFill>
                <a:latin typeface="Bogle"/>
              </a:rPr>
              <a:pPr defTabSz="1219170"/>
              <a:t>‹#›</a:t>
            </a:fld>
            <a:endParaRPr lang="en-US">
              <a:solidFill>
                <a:prstClr val="white"/>
              </a:solidFill>
              <a:latin typeface="Bogle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9063791-EB04-4CA7-BA38-59557FD6CD85}"/>
              </a:ext>
            </a:extLst>
          </p:cNvPr>
          <p:cNvCxnSpPr/>
          <p:nvPr userDrawn="1"/>
        </p:nvCxnSpPr>
        <p:spPr>
          <a:xfrm>
            <a:off x="1642334" y="6372379"/>
            <a:ext cx="0" cy="38704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EFB04FD-3287-48DA-9F53-8A3FF4C22A84}"/>
              </a:ext>
            </a:extLst>
          </p:cNvPr>
          <p:cNvSpPr txBox="1"/>
          <p:nvPr userDrawn="1"/>
        </p:nvSpPr>
        <p:spPr>
          <a:xfrm>
            <a:off x="1652226" y="6365875"/>
            <a:ext cx="447307" cy="400050"/>
          </a:xfrm>
          <a:prstGeom prst="rect">
            <a:avLst/>
          </a:prstGeom>
          <a:solidFill>
            <a:srgbClr val="0071CE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graphicFrame>
        <p:nvGraphicFramePr>
          <p:cNvPr id="3" name="Draft Stamp">
            <a:extLst>
              <a:ext uri="{FF2B5EF4-FFF2-40B4-BE49-F238E27FC236}">
                <a16:creationId xmlns:a16="http://schemas.microsoft.com/office/drawing/2014/main" id="{8F8C373E-9CD9-4831-B8E1-6D3DDB2FAF3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70748678"/>
              </p:ext>
            </p:extLst>
          </p:nvPr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val="1840919778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400" b="1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8101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016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Clr>
          <a:schemeClr val="bg2"/>
        </a:buClr>
        <a:buSzPct val="120000"/>
        <a:buFont typeface="Arial" panose="020B0604020202020204" pitchFamily="34" charset="0"/>
        <a:buChar char="•"/>
        <a:defRPr sz="2133" kern="1200">
          <a:solidFill>
            <a:schemeClr val="accent6"/>
          </a:solidFill>
          <a:latin typeface="+mn-lt"/>
          <a:ea typeface="+mn-ea"/>
          <a:cs typeface="+mn-cs"/>
        </a:defRPr>
      </a:lvl2pPr>
      <a:lvl3pPr marL="1219170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73800"/>
            <a:ext cx="12192000" cy="584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+mn-lt"/>
            </a:endParaRPr>
          </a:p>
        </p:txBody>
      </p:sp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609600" y="478368"/>
            <a:ext cx="10972800" cy="5122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848"/>
          <a:stretch/>
        </p:blipFill>
        <p:spPr>
          <a:xfrm>
            <a:off x="215904" y="6372379"/>
            <a:ext cx="1508121" cy="387043"/>
          </a:xfrm>
          <a:prstGeom prst="rect">
            <a:avLst/>
          </a:prstGeom>
        </p:spPr>
      </p:pic>
      <p:sp>
        <p:nvSpPr>
          <p:cNvPr id="8" name="Slide Number Placeholder 15">
            <a:extLst>
              <a:ext uri="{FF2B5EF4-FFF2-40B4-BE49-F238E27FC236}">
                <a16:creationId xmlns:a16="http://schemas.microsoft.com/office/drawing/2014/main" id="{5B4FEE5D-D1F2-4B4A-B40A-A9790F6F83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400" y="6375401"/>
            <a:ext cx="609600" cy="366183"/>
          </a:xfrm>
          <a:prstGeom prst="rect">
            <a:avLst/>
          </a:prstGeom>
        </p:spPr>
        <p:txBody>
          <a:bodyPr/>
          <a:lstStyle/>
          <a:p>
            <a:pPr defTabSz="1219170"/>
            <a:fld id="{79610DEB-B539-4097-9140-E362E27F9112}" type="slidenum">
              <a:rPr lang="en-US">
                <a:solidFill>
                  <a:prstClr val="white"/>
                </a:solidFill>
                <a:latin typeface="Bogle"/>
              </a:rPr>
              <a:pPr defTabSz="1219170"/>
              <a:t>‹#›</a:t>
            </a:fld>
            <a:endParaRPr lang="en-US">
              <a:solidFill>
                <a:prstClr val="white"/>
              </a:solidFill>
              <a:latin typeface="Bogle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9063791-EB04-4CA7-BA38-59557FD6CD85}"/>
              </a:ext>
            </a:extLst>
          </p:cNvPr>
          <p:cNvCxnSpPr/>
          <p:nvPr userDrawn="1"/>
        </p:nvCxnSpPr>
        <p:spPr>
          <a:xfrm>
            <a:off x="1642334" y="6372379"/>
            <a:ext cx="0" cy="38704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EFB04FD-3287-48DA-9F53-8A3FF4C22A84}"/>
              </a:ext>
            </a:extLst>
          </p:cNvPr>
          <p:cNvSpPr txBox="1"/>
          <p:nvPr userDrawn="1"/>
        </p:nvSpPr>
        <p:spPr>
          <a:xfrm>
            <a:off x="1652226" y="6365875"/>
            <a:ext cx="447307" cy="400050"/>
          </a:xfrm>
          <a:prstGeom prst="rect">
            <a:avLst/>
          </a:prstGeom>
          <a:solidFill>
            <a:srgbClr val="0071CE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graphicFrame>
        <p:nvGraphicFramePr>
          <p:cNvPr id="3" name="Draft Stamp">
            <a:extLst>
              <a:ext uri="{FF2B5EF4-FFF2-40B4-BE49-F238E27FC236}">
                <a16:creationId xmlns:a16="http://schemas.microsoft.com/office/drawing/2014/main" id="{8F8C373E-9CD9-4831-B8E1-6D3DDB2FAF3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61266139"/>
              </p:ext>
            </p:extLst>
          </p:nvPr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val="1840919778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400" b="1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8101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9194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Clr>
          <a:schemeClr val="bg2"/>
        </a:buClr>
        <a:buSzPct val="120000"/>
        <a:buFont typeface="Arial" panose="020B0604020202020204" pitchFamily="34" charset="0"/>
        <a:buChar char="•"/>
        <a:defRPr sz="2133" kern="1200">
          <a:solidFill>
            <a:schemeClr val="accent6"/>
          </a:solidFill>
          <a:latin typeface="+mn-lt"/>
          <a:ea typeface="+mn-ea"/>
          <a:cs typeface="+mn-cs"/>
        </a:defRPr>
      </a:lvl2pPr>
      <a:lvl3pPr marL="1219170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adb-3587475191488340.0.azuredatabricks.net/?o=3587475191488340#notebook/3633583601294042/command/3633583601295551" TargetMode="Externa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BE0A8B18.xlsx"/><Relationship Id="rId2" Type="http://schemas.openxmlformats.org/officeDocument/2006/relationships/hyperlink" Target="https://github.com/jangalapallisr/AIMLPOC/blob/main/WagglePOC.py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alpha val="9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4D7A11-DF53-4D48-A4A3-25112AD1A8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952" y="5785093"/>
            <a:ext cx="5190543" cy="377026"/>
          </a:xfrm>
        </p:spPr>
        <p:txBody>
          <a:bodyPr wrap="square" lIns="91440" tIns="45720" rIns="91440" bIns="45720" anchor="t">
            <a:spAutoFit/>
          </a:bodyPr>
          <a:lstStyle/>
          <a:p>
            <a:r>
              <a:rPr lang="en-US">
                <a:latin typeface="Bogle"/>
              </a:rPr>
              <a:t>September 202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152223-49CE-EE42-9975-313C461B03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5952" y="2051413"/>
            <a:ext cx="7538362" cy="604781"/>
          </a:xfrm>
        </p:spPr>
        <p:txBody>
          <a:bodyPr wrap="square" lIns="91440" tIns="45720" rIns="91440" bIns="45720" anchor="t">
            <a:spAutoFit/>
          </a:bodyPr>
          <a:lstStyle/>
          <a:p>
            <a:pPr marL="287020" indent="-287020"/>
            <a:r>
              <a:rPr lang="en-US" sz="3600">
                <a:latin typeface="Bogle"/>
              </a:rPr>
              <a:t>Waggle-FCP-FDF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A3B2F0A-E5F4-1091-4E31-2BE14D8283C1}"/>
              </a:ext>
            </a:extLst>
          </p:cNvPr>
          <p:cNvSpPr txBox="1">
            <a:spLocks/>
          </p:cNvSpPr>
          <p:nvPr/>
        </p:nvSpPr>
        <p:spPr>
          <a:xfrm>
            <a:off x="625952" y="3616632"/>
            <a:ext cx="7538362" cy="112415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lvl1pPr marL="287338" indent="-287338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4000" kern="1200">
                <a:solidFill>
                  <a:schemeClr val="bg1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Bogle" panose="020B0503020203060203" pitchFamily="34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Bogle" panose="020B0503020203060203" pitchFamily="34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Bogle" panose="020B0503020203060203" pitchFamily="34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Bogle" panose="020B05030202030602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020" indent="-287020"/>
            <a:r>
              <a:rPr lang="en-US" sz="1800" dirty="0">
                <a:latin typeface="+mn-lt"/>
              </a:rPr>
              <a:t>Subba Reddy </a:t>
            </a:r>
            <a:r>
              <a:rPr lang="en-US" sz="1800" dirty="0" err="1">
                <a:latin typeface="+mn-lt"/>
              </a:rPr>
              <a:t>Jangalapalli</a:t>
            </a:r>
            <a:r>
              <a:rPr lang="en-US" sz="1800" dirty="0">
                <a:latin typeface="+mn-lt"/>
              </a:rPr>
              <a:t>  </a:t>
            </a:r>
          </a:p>
          <a:p>
            <a:pPr marL="287020" indent="-287020"/>
            <a:r>
              <a:rPr lang="en-US" sz="1800" dirty="0">
                <a:effectLst/>
                <a:latin typeface="+mn-lt"/>
                <a:ea typeface="Calibri" panose="020F0502020204030204" pitchFamily="34" charset="0"/>
                <a:cs typeface="Times New Roman"/>
              </a:rPr>
              <a:t>Dinesh Reddy </a:t>
            </a:r>
            <a:r>
              <a:rPr lang="en-US" sz="1800" dirty="0" err="1">
                <a:effectLst/>
                <a:latin typeface="+mn-lt"/>
                <a:ea typeface="Calibri" panose="020F0502020204030204" pitchFamily="34" charset="0"/>
                <a:cs typeface="Times New Roman"/>
              </a:rPr>
              <a:t>Chandupatla</a:t>
            </a:r>
            <a:r>
              <a:rPr lang="en-US" sz="1800" dirty="0">
                <a:latin typeface="+mn-lt"/>
                <a:ea typeface="Calibri" panose="020F0502020204030204" pitchFamily="34" charset="0"/>
                <a:cs typeface="Times New Roman"/>
              </a:rPr>
              <a:t> </a:t>
            </a:r>
            <a:endParaRPr lang="en-US" sz="1800" dirty="0">
              <a:effectLst/>
              <a:latin typeface="+mn-lt"/>
              <a:ea typeface="Calibri" panose="020F0502020204030204" pitchFamily="34" charset="0"/>
              <a:cs typeface="Times New Roman"/>
            </a:endParaRPr>
          </a:p>
          <a:p>
            <a:pPr marL="287020" indent="-287020"/>
            <a:r>
              <a:rPr lang="en-US" sz="1800" dirty="0" err="1">
                <a:effectLst/>
                <a:latin typeface="+mn-lt"/>
                <a:ea typeface="Calibri" panose="020F0502020204030204" pitchFamily="34" charset="0"/>
                <a:cs typeface="Times New Roman"/>
              </a:rPr>
              <a:t>Sashikiran</a:t>
            </a:r>
            <a:r>
              <a:rPr lang="en-US" sz="1800" dirty="0">
                <a:effectLst/>
                <a:latin typeface="+mn-lt"/>
                <a:ea typeface="Calibri" panose="020F0502020204030204" pitchFamily="34" charset="0"/>
                <a:cs typeface="Times New Roman"/>
              </a:rPr>
              <a:t> Kandra</a:t>
            </a:r>
          </a:p>
          <a:p>
            <a:pPr marL="287020" indent="-287020"/>
            <a:r>
              <a:rPr lang="en-US" sz="1800" dirty="0">
                <a:effectLst/>
                <a:latin typeface="+mn-lt"/>
                <a:ea typeface="Calibri" panose="020F0502020204030204" pitchFamily="34" charset="0"/>
                <a:cs typeface="Times New Roman"/>
              </a:rPr>
              <a:t>Srinivasa Rao </a:t>
            </a:r>
            <a:r>
              <a:rPr lang="en-US" sz="1800" dirty="0" err="1">
                <a:effectLst/>
                <a:latin typeface="+mn-lt"/>
                <a:ea typeface="Calibri" panose="020F0502020204030204" pitchFamily="34" charset="0"/>
                <a:cs typeface="Times New Roman"/>
              </a:rPr>
              <a:t>Vunnam</a:t>
            </a:r>
            <a:endParaRPr lang="en-US" sz="1800" dirty="0" err="1">
              <a:latin typeface="+mn-lt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255588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4BE538-9FE9-E541-8109-BB6B05236D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800">
                <a:solidFill>
                  <a:schemeClr val="accent1"/>
                </a:solidFill>
                <a:latin typeface="+mn-lt"/>
              </a:rPr>
              <a:t>Problem Statement 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6E0EDC-6AC3-F943-880B-4532DA1874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32" y="1529582"/>
            <a:ext cx="10439400" cy="4698015"/>
          </a:xfrm>
        </p:spPr>
        <p:txBody>
          <a:bodyPr wrap="square" lIns="91440" tIns="45720" rIns="91440" bIns="45720" anchor="t">
            <a:noAutofit/>
          </a:bodyPr>
          <a:lstStyle/>
          <a:p>
            <a:pPr>
              <a:spcBef>
                <a:spcPts val="0"/>
              </a:spcBef>
            </a:pPr>
            <a:r>
              <a:rPr lang="en-US" sz="1800" dirty="0">
                <a:latin typeface="Calibri"/>
                <a:cs typeface="Times New Roman"/>
              </a:rPr>
              <a:t>As we all know that customer sales are key in Walmart, it directly impacts to P &amp; L. </a:t>
            </a:r>
            <a:endParaRPr lang="en-US" sz="180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</a:pPr>
            <a:r>
              <a:rPr lang="en-US" sz="1800" dirty="0">
                <a:latin typeface="Calibri"/>
                <a:cs typeface="Times New Roman"/>
              </a:rPr>
              <a:t>Our intention is to increase the sales and save money, live better; make customer happy and keep Walmart thriving. Walmart is huge, and each department itself is a mini company. </a:t>
            </a:r>
            <a:endParaRPr lang="en-US" sz="18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</a:pPr>
            <a:r>
              <a:rPr lang="en-US" sz="1800" dirty="0">
                <a:latin typeface="Calibri"/>
                <a:cs typeface="Times New Roman"/>
              </a:rPr>
              <a:t>At each Dept Level – reduce wastage, avoid excessive inventory, increase sales and plan &amp; forecast well in advance by using history data and macroeconomic factor signals (for example:  COVID, DR, Any NEW, etc.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</a:pPr>
            <a:r>
              <a:rPr lang="en-US" sz="1800" dirty="0">
                <a:latin typeface="Calibri"/>
                <a:cs typeface="Times New Roman"/>
              </a:rPr>
              <a:t>Trying to identify which ML model/technique will be best suited for each department level or group of departments based on macroeconomics.  Examples: </a:t>
            </a:r>
            <a:endParaRPr lang="en-US" sz="18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800" dirty="0">
                <a:latin typeface="Calibri"/>
                <a:cs typeface="Times New Roman"/>
              </a:rPr>
              <a:t>Produce (Dairy, Meat, Grocery, etc.)[</a:t>
            </a:r>
            <a:r>
              <a:rPr lang="en-US" sz="1600" dirty="0">
                <a:latin typeface="Calibri"/>
                <a:cs typeface="Times New Roman"/>
              </a:rPr>
              <a:t>Dept# 81,90,91,92,93,94,97 &amp;98</a:t>
            </a:r>
            <a:r>
              <a:rPr lang="en-US" sz="1800" dirty="0">
                <a:latin typeface="Calibri"/>
                <a:cs typeface="Times New Roman"/>
              </a:rPr>
              <a:t>]</a:t>
            </a: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800" dirty="0">
                <a:latin typeface="Calibri"/>
                <a:cs typeface="Times New Roman"/>
              </a:rPr>
              <a:t>Fuel [</a:t>
            </a:r>
            <a:r>
              <a:rPr lang="en-US" sz="1600" dirty="0">
                <a:latin typeface="Calibri"/>
                <a:cs typeface="Times New Roman"/>
              </a:rPr>
              <a:t>Dept#42 &amp; 65</a:t>
            </a:r>
            <a:r>
              <a:rPr lang="en-US" sz="1800" dirty="0">
                <a:latin typeface="Calibri"/>
                <a:cs typeface="Times New Roman"/>
              </a:rPr>
              <a:t>]</a:t>
            </a: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800" dirty="0">
                <a:latin typeface="Calibri"/>
                <a:cs typeface="Times New Roman"/>
              </a:rPr>
              <a:t>GM (General Merchandise) &amp; Other (non-produce &amp; non-fuel) [</a:t>
            </a:r>
            <a:r>
              <a:rPr lang="en-US" sz="1600" dirty="0">
                <a:latin typeface="Calibri"/>
                <a:cs typeface="Times New Roman"/>
              </a:rPr>
              <a:t>Dept# non aforesaid dept list</a:t>
            </a:r>
            <a:r>
              <a:rPr lang="en-US" sz="1800" dirty="0">
                <a:latin typeface="Calibri"/>
                <a:cs typeface="Times New Roman"/>
              </a:rPr>
              <a:t>]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sz="180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sz="180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Calibri"/>
                <a:cs typeface="Times New Roman"/>
              </a:rPr>
              <a:t>Plan &amp; Forecast well in advance at each department level in Regular/Seasonal/DR/New scenarios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Calibri"/>
                <a:cs typeface="Times New Roman"/>
              </a:rPr>
              <a:t>Address UPI issues (Reduce unnecessary ships/over orders to avoid excessive inventory 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Calibri"/>
                <a:cs typeface="Times New Roman"/>
              </a:rPr>
              <a:t>Address OPI issues ( Sales Lift, retain regular customers)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latin typeface="Calibri"/>
                <a:cs typeface="Times New Roman"/>
              </a:rPr>
              <a:t>Flexibility to use best ML Model/Technique based on Departmental level dynamics in ML Factory.</a:t>
            </a:r>
          </a:p>
          <a:p>
            <a:pPr lvl="0"/>
            <a:endParaRPr lang="en-GB" i="1"/>
          </a:p>
          <a:p>
            <a:pPr marL="342900" indent="-342900" defTabSz="909782">
              <a:lnSpc>
                <a:spcPct val="120000"/>
              </a:lnSpc>
              <a:buFont typeface="Arial" panose="020B0604020202020204" pitchFamily="34" charset="0"/>
              <a:buChar char="•"/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52A5ED-7BA2-E349-8774-24B81F3474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5014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EE1148-B089-1FF6-33AE-218CE22EE9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800">
                <a:solidFill>
                  <a:schemeClr val="accent1"/>
                </a:solidFill>
                <a:latin typeface="+mn-lt"/>
              </a:rPr>
              <a:t>Impact on Walmart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E83F2E-FAA9-97DD-3EC4-58D101A444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les &amp; Planning well in advance with accuracy forecasting at each Dept Level, and proactive actions based on market situations and/or economic conditions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void excessive inventory (~270M, ~$5 = $1.35B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duce throws (~$80K, ~5000 stores = $4M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les Lift (~$2.8M) &amp; Ships reductions(~$4.6M) , increase net sales &amp; revenue – Forecast well in advance 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 repetitive </a:t>
            </a: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stomers by having OH available on sales floor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endParaRPr lang="en-GB" i="1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GB" i="1"/>
          </a:p>
          <a:p>
            <a:pPr marL="342900" indent="-342900" defTabSz="909782">
              <a:lnSpc>
                <a:spcPct val="120000"/>
              </a:lnSpc>
              <a:buFont typeface="Arial" panose="020B0604020202020204" pitchFamily="34" charset="0"/>
              <a:buChar char="•"/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F413B4-043D-E323-AE8B-F610852B40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0447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D965D55-6163-76A9-901C-4577E67450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800">
                <a:solidFill>
                  <a:schemeClr val="accent1"/>
                </a:solidFill>
                <a:latin typeface="+mn-lt"/>
              </a:rPr>
              <a:t>The Solution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EB50F2-A4C9-FB18-3CA2-1FC0A36EBD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32" y="1121306"/>
            <a:ext cx="10439400" cy="5327303"/>
          </a:xfrm>
        </p:spPr>
        <p:txBody>
          <a:bodyPr wrap="square" lIns="91440" tIns="45720" rIns="91440" bIns="45720" anchor="t">
            <a:noAutofit/>
          </a:bodyPr>
          <a:lstStyle/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r>
              <a:rPr lang="en-GB" sz="1800" i="1" dirty="0">
                <a:solidFill>
                  <a:srgbClr val="000000"/>
                </a:solidFill>
                <a:latin typeface="Bogle"/>
                <a:sym typeface="Bogle Regular"/>
              </a:rPr>
              <a:t>POC developed with limited history by using </a:t>
            </a:r>
            <a:r>
              <a:rPr lang="en-GB" sz="1800" i="1" dirty="0">
                <a:solidFill>
                  <a:schemeClr val="accent2"/>
                </a:solidFill>
                <a:latin typeface="Bogle"/>
                <a:sym typeface="Bogle Regular"/>
              </a:rPr>
              <a:t>BQ &amp; Data Bricks notebook t</a:t>
            </a:r>
            <a:r>
              <a:rPr lang="en-GB" sz="1800" i="1" dirty="0">
                <a:solidFill>
                  <a:srgbClr val="000000"/>
                </a:solidFill>
                <a:latin typeface="Bogle"/>
                <a:sym typeface="Bogle Regular"/>
              </a:rPr>
              <a:t>o identify which ML model/technique works well for which are all departments or set of departments. Week level Sales –</a:t>
            </a:r>
            <a:r>
              <a:rPr lang="en-GB" sz="1800" i="1" dirty="0">
                <a:latin typeface="Bogle"/>
                <a:sym typeface="Bogle Regular"/>
              </a:rPr>
              <a:t> </a:t>
            </a:r>
            <a:endParaRPr lang="en-GB" sz="1800" i="1" dirty="0"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endParaRPr lang="en-GB" sz="2000" i="1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GB" i="1"/>
          </a:p>
          <a:p>
            <a:pPr marL="342900" indent="-342900" defTabSz="909782">
              <a:lnSpc>
                <a:spcPct val="120000"/>
              </a:lnSpc>
              <a:buFont typeface="Arial" panose="020B0604020202020204" pitchFamily="34" charset="0"/>
              <a:buChar char="•"/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A0E104-DC11-FE5A-1B3C-267211D89C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0590639-9621-E1C6-5F1E-9DD631141A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2832" y="1809711"/>
            <a:ext cx="10148363" cy="4417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6582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D965D55-6163-76A9-901C-4577E67450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800">
                <a:solidFill>
                  <a:schemeClr val="accent1"/>
                </a:solidFill>
                <a:latin typeface="+mn-lt"/>
              </a:rPr>
              <a:t>The Solution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EB50F2-A4C9-FB18-3CA2-1FC0A36EBD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32" y="1121306"/>
            <a:ext cx="10439400" cy="5327303"/>
          </a:xfrm>
        </p:spPr>
        <p:txBody>
          <a:bodyPr wrap="square" lIns="91440" tIns="45720" rIns="91440" bIns="45720" anchor="t">
            <a:noAutofit/>
          </a:bodyPr>
          <a:lstStyle/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r>
              <a:rPr lang="en-GB" sz="1800" i="1" dirty="0">
                <a:solidFill>
                  <a:srgbClr val="000000"/>
                </a:solidFill>
                <a:latin typeface="Bogle"/>
                <a:sym typeface="Bogle Regular"/>
              </a:rPr>
              <a:t>POC developed with limited history by using BQ</a:t>
            </a:r>
            <a:r>
              <a:rPr lang="en-GB" sz="1800" i="1" dirty="0">
                <a:latin typeface="Bogle"/>
                <a:sym typeface="Bogle Regular"/>
              </a:rPr>
              <a:t> &amp; </a:t>
            </a:r>
            <a:r>
              <a:rPr lang="en-GB" sz="1800" i="1" dirty="0">
                <a:solidFill>
                  <a:schemeClr val="accent2"/>
                </a:solidFill>
                <a:latin typeface="Bogle"/>
                <a:sym typeface="Bogle Regular"/>
              </a:rPr>
              <a:t>Data Bricks notebook</a:t>
            </a:r>
            <a:r>
              <a:rPr lang="en-GB" sz="1800" i="1" dirty="0">
                <a:solidFill>
                  <a:schemeClr val="tx1"/>
                </a:solidFill>
                <a:latin typeface="Bogle"/>
                <a:sym typeface="Bogle Regular"/>
              </a:rPr>
              <a:t> </a:t>
            </a:r>
            <a:r>
              <a:rPr lang="en-GB" sz="1800" i="1" dirty="0">
                <a:solidFill>
                  <a:srgbClr val="000000"/>
                </a:solidFill>
                <a:latin typeface="Bogle"/>
                <a:sym typeface="Bogle Regular"/>
              </a:rPr>
              <a:t>to identify which ML model/technique works well for which are all departments or set of departments. Monthly Sales –</a:t>
            </a:r>
            <a:r>
              <a:rPr lang="en-GB" sz="1800" i="1" dirty="0">
                <a:latin typeface="Bogle"/>
                <a:sym typeface="Bogle Regular"/>
              </a:rPr>
              <a:t> </a:t>
            </a:r>
            <a:endParaRPr lang="en-GB" sz="1800" i="1"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endParaRPr lang="en-GB" sz="2000" i="1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GB" i="1"/>
          </a:p>
          <a:p>
            <a:pPr marL="342900" indent="-342900" defTabSz="909782">
              <a:lnSpc>
                <a:spcPct val="120000"/>
              </a:lnSpc>
              <a:buFont typeface="Arial" panose="020B0604020202020204" pitchFamily="34" charset="0"/>
              <a:buChar char="•"/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A0E104-DC11-FE5A-1B3C-267211D89C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CB41EE-7F7E-0922-DB54-602DD7FABC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496" y="1828801"/>
            <a:ext cx="10877384" cy="461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0381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D965D55-6163-76A9-901C-4577E67450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800">
                <a:solidFill>
                  <a:schemeClr val="accent1"/>
                </a:solidFill>
                <a:latin typeface="+mn-lt"/>
              </a:rPr>
              <a:t>Demo of the Solution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EB50F2-A4C9-FB18-3CA2-1FC0A36EBD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wrap="square" lIns="91440" tIns="45720" rIns="91440" bIns="45720" anchor="t">
            <a:noAutofit/>
          </a:bodyPr>
          <a:lstStyle/>
          <a:p>
            <a:pPr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r>
              <a:rPr lang="en-GB" sz="1800" i="1" dirty="0">
                <a:latin typeface="Calibri"/>
                <a:sym typeface="Bogle Regular"/>
              </a:rPr>
              <a:t>Live Demo by using BQ &amp; </a:t>
            </a:r>
            <a:r>
              <a:rPr lang="en-GB" sz="1800" i="1" dirty="0">
                <a:highlight>
                  <a:srgbClr val="00FF00"/>
                </a:highlight>
                <a:latin typeface="Calibri"/>
                <a:sym typeface="Bogle Regular"/>
                <a:hlinkClick r:id="rId2"/>
              </a:rPr>
              <a:t>Data Bricks notebook</a:t>
            </a:r>
            <a:endParaRPr lang="en-GB" sz="1800" i="1" dirty="0">
              <a:highlight>
                <a:srgbClr val="00FF00"/>
              </a:highlight>
              <a:latin typeface="Calibri"/>
            </a:endParaRPr>
          </a:p>
          <a:p>
            <a:pPr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1800" i="1" dirty="0">
              <a:latin typeface="Calibri"/>
              <a:cs typeface="Calibri"/>
            </a:endParaRPr>
          </a:p>
          <a:p>
            <a:pPr marL="342900" indent="-342900">
              <a:buChar char="•"/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r>
              <a:rPr lang="en-GB" sz="1800" i="1" dirty="0">
                <a:latin typeface="Calibri"/>
                <a:cs typeface="Calibri"/>
                <a:sym typeface="Bogle Regular"/>
              </a:rPr>
              <a:t>Please</a:t>
            </a:r>
            <a:r>
              <a:rPr lang="en-GB" sz="1800" i="1" dirty="0">
                <a:latin typeface="Calibri"/>
                <a:cs typeface="Calibri"/>
              </a:rPr>
              <a:t> mention</a:t>
            </a:r>
            <a:r>
              <a:rPr lang="en-GB" sz="2000" i="1" dirty="0">
                <a:latin typeface="Calibri"/>
                <a:cs typeface="Calibri"/>
              </a:rPr>
              <a:t> the details on the technologies driving the solution or used to build the product: </a:t>
            </a:r>
            <a:r>
              <a:rPr lang="en-GB" sz="18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rPr>
              <a:t>Weekly sales, Monthly sales, BQ, AIML &amp; DB Cluster &amp; Notebook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i="1" dirty="0"/>
              <a:t>How does this solution solve the problem: </a:t>
            </a:r>
            <a:r>
              <a:rPr lang="en-GB" sz="1800" i="1" u="sn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ranular level </a:t>
            </a:r>
            <a:r>
              <a:rPr lang="en-GB" sz="18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[Dept vs week/month/quarter/year vs location(store/County/State/Region)] </a:t>
            </a:r>
            <a:r>
              <a:rPr lang="en-GB" sz="1800" i="1" u="sn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ccurate predictions </a:t>
            </a:r>
            <a:r>
              <a:rPr lang="en-GB" sz="18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ith specific ML model/Technique from WM ML Factory  </a:t>
            </a:r>
            <a:endParaRPr lang="en-GB" sz="1800" i="1">
              <a:solidFill>
                <a:schemeClr val="tx1">
                  <a:lumMod val="50000"/>
                  <a:lumOff val="50000"/>
                </a:schemeClr>
              </a:solidFill>
              <a:cs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i="1" dirty="0"/>
              <a:t>What are it’s unique selling points? </a:t>
            </a:r>
            <a:r>
              <a:rPr lang="en-GB" sz="18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ips reductions, avoid excessive inventory, reduce throws &amp; Sales lift; which internally leads to net sales, revenue &amp; profit increases and accurate planning &amp; forecast at each Dept/store/state/region Level</a:t>
            </a:r>
            <a:endParaRPr lang="en-GB" sz="1800" i="1">
              <a:solidFill>
                <a:schemeClr val="tx1">
                  <a:lumMod val="50000"/>
                  <a:lumOff val="50000"/>
                </a:schemeClr>
              </a:solidFill>
              <a:cs typeface="Calibri"/>
            </a:endParaRPr>
          </a:p>
          <a:p>
            <a:endParaRPr lang="en-GB" sz="2000" i="1" dirty="0">
              <a:cs typeface="Calibri"/>
            </a:endParaRPr>
          </a:p>
          <a:p>
            <a:endParaRPr lang="en-GB" sz="2000" i="1" dirty="0">
              <a:cs typeface="Calibri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GB" i="1" dirty="0">
              <a:cs typeface="Calibri"/>
            </a:endParaRPr>
          </a:p>
          <a:p>
            <a:pPr marL="342900" indent="-342900" defTabSz="909782">
              <a:lnSpc>
                <a:spcPct val="120000"/>
              </a:lnSpc>
              <a:buFont typeface="Arial" panose="020B0604020202020204" pitchFamily="34" charset="0"/>
              <a:buChar char="•"/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 dirty="0">
              <a:solidFill>
                <a:srgbClr val="000000"/>
              </a:solidFill>
              <a:latin typeface="Bogle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 dirty="0">
              <a:solidFill>
                <a:srgbClr val="000000"/>
              </a:solidFill>
              <a:latin typeface="Bogle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 dirty="0">
              <a:solidFill>
                <a:srgbClr val="000000"/>
              </a:solidFill>
              <a:latin typeface="Bogle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 dirty="0">
              <a:solidFill>
                <a:srgbClr val="000000"/>
              </a:solidFill>
              <a:latin typeface="Bogle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 dirty="0">
              <a:solidFill>
                <a:srgbClr val="000000"/>
              </a:solidFill>
              <a:latin typeface="Bogle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 dirty="0">
              <a:solidFill>
                <a:srgbClr val="000000"/>
              </a:solidFill>
              <a:latin typeface="Bogle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 dirty="0">
              <a:solidFill>
                <a:srgbClr val="000000"/>
              </a:solidFill>
              <a:latin typeface="Bogle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 dirty="0">
              <a:solidFill>
                <a:srgbClr val="000000"/>
              </a:solidFill>
              <a:latin typeface="Bogle"/>
            </a:endParaRPr>
          </a:p>
          <a:p>
            <a:endParaRPr lang="en-US" dirty="0">
              <a:cs typeface="Calibri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A0E104-DC11-FE5A-1B3C-267211D89C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5022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D965D55-6163-76A9-901C-4577E67450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800">
                <a:solidFill>
                  <a:schemeClr val="accent1"/>
                </a:solidFill>
                <a:latin typeface="+mn-lt"/>
              </a:rPr>
              <a:t>Future Roadmap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EB50F2-A4C9-FB18-3CA2-1FC0A36EBD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wrap="square" lIns="91440" tIns="45720" rIns="91440" bIns="45720" anchor="t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GB" i="1">
              <a:latin typeface="Bogle" panose="020B0503020203060203" pitchFamily="34" charset="0"/>
              <a:sym typeface="Bogle Regular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/>
                <a:ea typeface="Calibri" panose="020F0502020204030204" pitchFamily="34" charset="0"/>
                <a:cs typeface="Times New Roman"/>
              </a:rPr>
              <a:t>Build solid history of data with 100% accuracy signals and economic factors(at least 3 years of data to start) to respective market.</a:t>
            </a:r>
          </a:p>
          <a:p>
            <a:pPr marL="971550" lvl="1" indent="-285750">
              <a:spcBef>
                <a:spcPts val="0"/>
              </a:spcBef>
            </a:pPr>
            <a:r>
              <a:rPr lang="en-US" sz="1800" dirty="0">
                <a:latin typeface="Calibri"/>
                <a:ea typeface="Calibri" panose="020F0502020204030204" pitchFamily="34" charset="0"/>
                <a:cs typeface="Times New Roman"/>
              </a:rPr>
              <a:t>Real Time Inventory (</a:t>
            </a:r>
            <a:r>
              <a:rPr lang="en-US" sz="1800">
                <a:latin typeface="Calibri"/>
                <a:ea typeface="Calibri" panose="020F0502020204030204" pitchFamily="34" charset="0"/>
                <a:cs typeface="Times New Roman"/>
              </a:rPr>
              <a:t>SI, PI, RC, BR, TR, MS, etc. Along with LOC details)</a:t>
            </a:r>
          </a:p>
          <a:p>
            <a:pPr marL="971550" lvl="1" indent="-285750">
              <a:spcBef>
                <a:spcPts val="0"/>
              </a:spcBef>
            </a:pPr>
            <a:r>
              <a:rPr lang="en-US" sz="1800" dirty="0">
                <a:latin typeface="Calibri"/>
                <a:ea typeface="Calibri" panose="020F0502020204030204" pitchFamily="34" charset="0"/>
                <a:cs typeface="Times New Roman"/>
              </a:rPr>
              <a:t>Real Time Micro economic factors</a:t>
            </a:r>
          </a:p>
          <a:p>
            <a:pPr marL="971550" lvl="1" indent="-285750">
              <a:spcBef>
                <a:spcPts val="0"/>
              </a:spcBef>
            </a:pPr>
            <a:r>
              <a:rPr lang="en-US" sz="1800" dirty="0">
                <a:latin typeface="Calibri"/>
                <a:ea typeface="Calibri" panose="020F0502020204030204" pitchFamily="34" charset="0"/>
                <a:cs typeface="Times New Roman"/>
              </a:rPr>
              <a:t>Real Time Weather data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/>
                <a:ea typeface="Calibri" panose="020F0502020204030204" pitchFamily="34" charset="0"/>
                <a:cs typeface="Times New Roman"/>
              </a:rPr>
              <a:t>Build, Train, &amp; Evaluate ML models at granular level at different dimensions with flexibility of to add noisy buffers while triggering; like regular, seasonal, BTS(Back2School), STE(Sales Tax Exemption), DR situations and new/remodeling @State/County level</a:t>
            </a:r>
            <a:r>
              <a:rPr lang="en-US" sz="1800" dirty="0">
                <a:latin typeface="Calibri"/>
                <a:ea typeface="Calibri" panose="020F0502020204030204" pitchFamily="34" charset="0"/>
                <a:cs typeface="Times New Roman"/>
              </a:rPr>
              <a:t> </a:t>
            </a:r>
            <a:r>
              <a:rPr lang="en-US" sz="1800" dirty="0">
                <a:effectLst/>
                <a:latin typeface="Calibri"/>
                <a:ea typeface="Calibri" panose="020F0502020204030204" pitchFamily="34" charset="0"/>
                <a:cs typeface="Times New Roman"/>
              </a:rPr>
              <a:t> – various variety ML models are in as ML Factory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/>
                <a:ea typeface="Calibri" panose="020F0502020204030204" pitchFamily="34" charset="0"/>
                <a:cs typeface="Times New Roman"/>
              </a:rPr>
              <a:t>Have CV check on every schedule run of each ML model, if running average success threshold breaches or prediction accuracy levels are not as expected then retrain &amp; evaluate the Model (ML Ops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/>
                <a:ea typeface="Calibri" panose="020F0502020204030204" pitchFamily="34" charset="0"/>
                <a:cs typeface="Times New Roman"/>
              </a:rPr>
              <a:t>Resources: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/>
                <a:ea typeface="Calibri" panose="020F0502020204030204" pitchFamily="34" charset="0"/>
                <a:cs typeface="Times New Roman"/>
              </a:rPr>
              <a:t>Dedicated GPU Cluster</a:t>
            </a:r>
            <a:r>
              <a:rPr lang="en-US" sz="1800" dirty="0">
                <a:latin typeface="Calibri"/>
                <a:ea typeface="Calibri" panose="020F0502020204030204" pitchFamily="34" charset="0"/>
                <a:cs typeface="Times New Roman"/>
              </a:rPr>
              <a:t> 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/>
                <a:ea typeface="Calibri" panose="020F0502020204030204" pitchFamily="34" charset="0"/>
                <a:cs typeface="Times New Roman"/>
              </a:rPr>
              <a:t>Engineers who are passionate about data, AIML, and ML Op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GB" i="1"/>
          </a:p>
          <a:p>
            <a:pPr marL="342900" indent="-342900" defTabSz="909782">
              <a:lnSpc>
                <a:spcPct val="120000"/>
              </a:lnSpc>
              <a:buFont typeface="Arial" panose="020B0604020202020204" pitchFamily="34" charset="0"/>
              <a:buChar char="•"/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endParaRPr lang="en-GB" sz="2000" i="1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GB" i="1"/>
          </a:p>
          <a:p>
            <a:pPr marL="342900" indent="-342900" defTabSz="909782">
              <a:lnSpc>
                <a:spcPct val="120000"/>
              </a:lnSpc>
              <a:buFont typeface="Arial" panose="020B0604020202020204" pitchFamily="34" charset="0"/>
              <a:buChar char="•"/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A0E104-DC11-FE5A-1B3C-267211D89C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51646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D965D55-6163-76A9-901C-4577E67450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800">
                <a:solidFill>
                  <a:schemeClr val="accent1"/>
                </a:solidFill>
                <a:latin typeface="+mn-lt"/>
              </a:rPr>
              <a:t>Links to Code/Simulations/others - </a:t>
            </a:r>
            <a:r>
              <a:rPr lang="en-GB" sz="2800" b="1">
                <a:solidFill>
                  <a:schemeClr val="accent1"/>
                </a:solidFill>
                <a:latin typeface="+mn-lt"/>
              </a:rPr>
              <a:t>Mandatory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EB50F2-A4C9-FB18-3CA2-1FC0A36EBD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wrap="square" lIns="91440" tIns="45720" rIns="91440" bIns="45720" anchor="t">
            <a:noAutofit/>
          </a:bodyPr>
          <a:lstStyle/>
          <a:p>
            <a:pPr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1800" i="1">
              <a:solidFill>
                <a:srgbClr val="2F86F2"/>
              </a:solidFill>
              <a:highlight>
                <a:srgbClr val="00FF00"/>
              </a:highlight>
              <a:latin typeface="Bogle Regular"/>
              <a:hlinkClick r:id="rId2"/>
            </a:endParaRPr>
          </a:p>
          <a:p>
            <a:pPr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r>
              <a:rPr lang="en-GB" sz="1800" i="1">
                <a:solidFill>
                  <a:schemeClr val="tx1"/>
                </a:solidFill>
                <a:highlight>
                  <a:srgbClr val="00FF00"/>
                </a:highlight>
                <a:latin typeface="Bogle Regular"/>
                <a:sym typeface="Bogle Regular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 Link  : </a:t>
            </a:r>
            <a:r>
              <a:rPr lang="en-GB" sz="1800">
                <a:ea typeface="+mn-lt"/>
                <a:cs typeface="+mn-lt"/>
                <a:sym typeface="Bogle Regular"/>
              </a:rPr>
              <a:t>https://github.com/jangalapallisr/AIMLPOC/blob/main/WagglePOC.py</a:t>
            </a:r>
            <a:endParaRPr lang="en-GB" sz="1800" i="1">
              <a:highlight>
                <a:srgbClr val="00FF00"/>
              </a:highlight>
              <a:ea typeface="+mn-lt"/>
              <a:cs typeface="+mn-lt"/>
            </a:endParaRPr>
          </a:p>
          <a:p>
            <a:pPr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r>
              <a:rPr lang="en-GB" sz="1800" i="1">
                <a:solidFill>
                  <a:schemeClr val="tx1"/>
                </a:solidFill>
                <a:highlight>
                  <a:srgbClr val="00FF00"/>
                </a:highlight>
                <a:latin typeface="Bogle Regular"/>
                <a:sym typeface="Bogle Regular"/>
              </a:rPr>
              <a:t>DATA BRICKS Note </a:t>
            </a:r>
            <a:r>
              <a:rPr lang="en-GB" sz="1800" i="1">
                <a:solidFill>
                  <a:schemeClr val="tx1">
                    <a:lumMod val="50000"/>
                    <a:lumOff val="50000"/>
                  </a:schemeClr>
                </a:solidFill>
                <a:highlight>
                  <a:srgbClr val="00FF00"/>
                </a:highlight>
                <a:latin typeface="Bogle Regular"/>
                <a:sym typeface="Bogle Regular"/>
              </a:rPr>
              <a:t>Book: </a:t>
            </a:r>
            <a:r>
              <a:rPr lang="en-GB" sz="1800">
                <a:ea typeface="+mn-lt"/>
                <a:cs typeface="+mn-lt"/>
                <a:sym typeface="Bogle Regular"/>
              </a:rPr>
              <a:t>https://adb-3587475191488340.0.azuredatabricks.net/?o=3587475191488340#notebook/3633583601294042/command/3633583601295787</a:t>
            </a:r>
            <a:endParaRPr lang="en-GB" sz="1800" i="1">
              <a:highlight>
                <a:srgbClr val="00FF00"/>
              </a:highlight>
              <a:ea typeface="+mn-lt"/>
              <a:cs typeface="+mn-lt"/>
            </a:endParaRPr>
          </a:p>
          <a:p>
            <a:pPr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1800">
              <a:ea typeface="+mn-lt"/>
              <a:cs typeface="+mn-lt"/>
            </a:endParaRPr>
          </a:p>
          <a:p>
            <a:pPr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1800">
              <a:ea typeface="+mn-lt"/>
              <a:cs typeface="+mn-lt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r>
              <a:rPr lang="en-US" sz="1800" i="1">
                <a:solidFill>
                  <a:schemeClr val="tx1">
                    <a:lumMod val="50000"/>
                    <a:lumOff val="50000"/>
                  </a:schemeClr>
                </a:solidFill>
                <a:latin typeface="Bogle Regular"/>
              </a:rPr>
              <a:t>Want to thank to </a:t>
            </a:r>
            <a:r>
              <a:rPr lang="en-US" sz="1800" b="1" i="1">
                <a:solidFill>
                  <a:schemeClr val="tx1"/>
                </a:solidFill>
                <a:latin typeface="Bogle Regular"/>
              </a:rPr>
              <a:t>Anshul</a:t>
            </a:r>
            <a:r>
              <a:rPr lang="en-US" sz="1800" i="1">
                <a:solidFill>
                  <a:schemeClr val="tx1"/>
                </a:solidFill>
                <a:latin typeface="Bogle Regular"/>
              </a:rPr>
              <a:t> Bansal </a:t>
            </a:r>
            <a:r>
              <a:rPr lang="en-US" sz="1800" i="1">
                <a:solidFill>
                  <a:schemeClr val="tx1">
                    <a:lumMod val="50000"/>
                    <a:lumOff val="50000"/>
                  </a:schemeClr>
                </a:solidFill>
                <a:latin typeface="Bogle Regular"/>
              </a:rPr>
              <a:t>(@DS Team for help &amp; mentor), and special thanks to my leadership team (</a:t>
            </a:r>
            <a:r>
              <a:rPr lang="en-US" sz="1800" b="1">
                <a:solidFill>
                  <a:schemeClr val="tx1"/>
                </a:solidFill>
                <a:effectLst/>
                <a:latin typeface="Calibri"/>
                <a:ea typeface="Calibri" panose="020F0502020204030204" pitchFamily="34" charset="0"/>
                <a:cs typeface="Times New Roman"/>
              </a:rPr>
              <a:t>Srini</a:t>
            </a:r>
            <a:r>
              <a:rPr lang="en-US" sz="1800">
                <a:solidFill>
                  <a:schemeClr val="tx1"/>
                </a:solidFill>
                <a:effectLst/>
                <a:latin typeface="Calibri"/>
                <a:ea typeface="Calibri" panose="020F0502020204030204" pitchFamily="34" charset="0"/>
                <a:cs typeface="Times New Roman"/>
              </a:rPr>
              <a:t>vas Kasavaraju</a:t>
            </a:r>
            <a:r>
              <a:rPr lang="en-US" sz="180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/>
              </a:rPr>
              <a:t> </a:t>
            </a:r>
            <a:r>
              <a:rPr lang="en-US" sz="1800" i="1">
                <a:solidFill>
                  <a:schemeClr val="tx1"/>
                </a:solidFill>
                <a:latin typeface="Bogle Regular"/>
              </a:rPr>
              <a:t> </a:t>
            </a:r>
            <a:r>
              <a:rPr lang="en-US" sz="1800" i="1">
                <a:solidFill>
                  <a:schemeClr val="tx1">
                    <a:lumMod val="50000"/>
                    <a:lumOff val="50000"/>
                  </a:schemeClr>
                </a:solidFill>
                <a:latin typeface="Bogle Regular"/>
              </a:rPr>
              <a:t>&amp; </a:t>
            </a:r>
            <a:r>
              <a:rPr lang="en-US" sz="1800" b="1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</a:rPr>
              <a:t>Ryan </a:t>
            </a:r>
            <a:r>
              <a:rPr lang="en-US" sz="180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</a:rPr>
              <a:t>Booth</a:t>
            </a:r>
            <a:r>
              <a:rPr lang="en-US" sz="1800" b="1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1800" i="1">
                <a:solidFill>
                  <a:schemeClr val="tx1">
                    <a:lumMod val="50000"/>
                    <a:lumOff val="50000"/>
                  </a:schemeClr>
                </a:solidFill>
                <a:latin typeface="Bogle Regular"/>
              </a:rPr>
              <a:t>) for support &amp; opportunity to participate in Hackathon and explore.</a:t>
            </a:r>
            <a:endParaRPr lang="en-GB" sz="1800" i="1">
              <a:solidFill>
                <a:schemeClr val="tx1">
                  <a:lumMod val="50000"/>
                  <a:lumOff val="50000"/>
                </a:schemeClr>
              </a:solidFill>
              <a:latin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1800" i="1">
              <a:solidFill>
                <a:schemeClr val="tx1">
                  <a:lumMod val="50000"/>
                  <a:lumOff val="50000"/>
                </a:schemeClr>
              </a:solidFill>
              <a:latin typeface="Bogle Regular"/>
              <a:sym typeface="Bogle Regular"/>
            </a:endParaRPr>
          </a:p>
          <a:p>
            <a:pPr defTabSz="909782">
              <a:lnSpc>
                <a:spcPct val="120000"/>
              </a:lnSpc>
              <a:defRPr sz="4000">
                <a:latin typeface="Bogle Regular"/>
                <a:ea typeface="Bogle Regular"/>
                <a:cs typeface="Bogle Regular"/>
                <a:sym typeface="Bogle Regular"/>
              </a:defRPr>
            </a:pPr>
            <a:endParaRPr lang="en-GB" sz="2000" i="1">
              <a:solidFill>
                <a:srgbClr val="000000"/>
              </a:solidFill>
              <a:latin typeface="Bogle" panose="020B0503020203060203" pitchFamily="34" charset="0"/>
              <a:sym typeface="Bogle Regular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A0E104-DC11-FE5A-1B3C-267211D89C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93869AC1-F908-2D67-C6B1-95D722CD6DF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67323628"/>
              </p:ext>
            </p:extLst>
          </p:nvPr>
        </p:nvGraphicFramePr>
        <p:xfrm>
          <a:off x="775414" y="342900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3" imgW="965200" imgH="609600" progId="Excel.Sheet.12">
                  <p:embed/>
                </p:oleObj>
              </mc:Choice>
              <mc:Fallback>
                <p:oleObj name="Worksheet" showAsIcon="1" r:id="rId3" imgW="965200" imgH="609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75414" y="342900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322597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2070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Custom Design">
  <a:themeElements>
    <a:clrScheme name="Global Tech">
      <a:dk1>
        <a:srgbClr val="041F41"/>
      </a:dk1>
      <a:lt1>
        <a:srgbClr val="FFFFFF"/>
      </a:lt1>
      <a:dk2>
        <a:srgbClr val="06F27B"/>
      </a:dk2>
      <a:lt2>
        <a:srgbClr val="B9BBC5"/>
      </a:lt2>
      <a:accent1>
        <a:srgbClr val="605E63"/>
      </a:accent1>
      <a:accent2>
        <a:srgbClr val="000000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Template_AssociateBrand_200709" id="{24650400-1060-F443-91D3-FF96CB987B1B}" vid="{DA6A65A9-187F-B347-A75F-8292B4AB7557}"/>
    </a:ext>
  </a:extLst>
</a:theme>
</file>

<file path=ppt/theme/theme2.xml><?xml version="1.0" encoding="utf-8"?>
<a:theme xmlns:a="http://schemas.openxmlformats.org/drawingml/2006/main" name="4_Custom Design">
  <a:themeElements>
    <a:clrScheme name="Global Tech">
      <a:dk1>
        <a:srgbClr val="041F41"/>
      </a:dk1>
      <a:lt1>
        <a:srgbClr val="FFFFFF"/>
      </a:lt1>
      <a:dk2>
        <a:srgbClr val="06F27B"/>
      </a:dk2>
      <a:lt2>
        <a:srgbClr val="B9BBC5"/>
      </a:lt2>
      <a:accent1>
        <a:srgbClr val="605E63"/>
      </a:accent1>
      <a:accent2>
        <a:srgbClr val="000000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Template_AssociateBrand_200709" id="{24650400-1060-F443-91D3-FF96CB987B1B}" vid="{DA6A65A9-187F-B347-A75F-8292B4AB7557}"/>
    </a:ext>
  </a:extLst>
</a:theme>
</file>

<file path=ppt/theme/theme3.xml><?xml version="1.0" encoding="utf-8"?>
<a:theme xmlns:a="http://schemas.openxmlformats.org/drawingml/2006/main" name="2_Office Theme">
  <a:themeElements>
    <a:clrScheme name="Walmart Brand Colors">
      <a:dk1>
        <a:srgbClr val="0071CE"/>
      </a:dk1>
      <a:lt1>
        <a:sysClr val="window" lastClr="FFFFFF"/>
      </a:lt1>
      <a:dk2>
        <a:srgbClr val="2F2951"/>
      </a:dk2>
      <a:lt2>
        <a:srgbClr val="FFC220"/>
      </a:lt2>
      <a:accent1>
        <a:srgbClr val="FA6400"/>
      </a:accent1>
      <a:accent2>
        <a:srgbClr val="5FB446"/>
      </a:accent2>
      <a:accent3>
        <a:srgbClr val="DE1C24"/>
      </a:accent3>
      <a:accent4>
        <a:srgbClr val="FFF200"/>
      </a:accent4>
      <a:accent5>
        <a:srgbClr val="0071CE"/>
      </a:accent5>
      <a:accent6>
        <a:srgbClr val="292929"/>
      </a:accent6>
      <a:hlink>
        <a:srgbClr val="0071CE"/>
      </a:hlink>
      <a:folHlink>
        <a:srgbClr val="2F2951"/>
      </a:folHlink>
    </a:clrScheme>
    <a:fontScheme name="Bogle">
      <a:majorFont>
        <a:latin typeface="Bogle"/>
        <a:ea typeface=""/>
        <a:cs typeface=""/>
      </a:majorFont>
      <a:minorFont>
        <a:latin typeface="Bogl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Office Theme">
  <a:themeElements>
    <a:clrScheme name="Walmart Brand Colors">
      <a:dk1>
        <a:srgbClr val="0071CE"/>
      </a:dk1>
      <a:lt1>
        <a:sysClr val="window" lastClr="FFFFFF"/>
      </a:lt1>
      <a:dk2>
        <a:srgbClr val="2F2951"/>
      </a:dk2>
      <a:lt2>
        <a:srgbClr val="FFC220"/>
      </a:lt2>
      <a:accent1>
        <a:srgbClr val="FA6400"/>
      </a:accent1>
      <a:accent2>
        <a:srgbClr val="5FB446"/>
      </a:accent2>
      <a:accent3>
        <a:srgbClr val="DE1C24"/>
      </a:accent3>
      <a:accent4>
        <a:srgbClr val="FFF200"/>
      </a:accent4>
      <a:accent5>
        <a:srgbClr val="0071CE"/>
      </a:accent5>
      <a:accent6>
        <a:srgbClr val="292929"/>
      </a:accent6>
      <a:hlink>
        <a:srgbClr val="0071CE"/>
      </a:hlink>
      <a:folHlink>
        <a:srgbClr val="2F2951"/>
      </a:folHlink>
    </a:clrScheme>
    <a:fontScheme name="Bogle">
      <a:majorFont>
        <a:latin typeface="Bogle"/>
        <a:ea typeface=""/>
        <a:cs typeface=""/>
      </a:majorFont>
      <a:minorFont>
        <a:latin typeface="Bogl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Office Theme">
  <a:themeElements>
    <a:clrScheme name="Walmart Brand Colors">
      <a:dk1>
        <a:srgbClr val="0071CE"/>
      </a:dk1>
      <a:lt1>
        <a:sysClr val="window" lastClr="FFFFFF"/>
      </a:lt1>
      <a:dk2>
        <a:srgbClr val="2F2951"/>
      </a:dk2>
      <a:lt2>
        <a:srgbClr val="FFC220"/>
      </a:lt2>
      <a:accent1>
        <a:srgbClr val="FA6400"/>
      </a:accent1>
      <a:accent2>
        <a:srgbClr val="5FB446"/>
      </a:accent2>
      <a:accent3>
        <a:srgbClr val="DE1C24"/>
      </a:accent3>
      <a:accent4>
        <a:srgbClr val="FFF200"/>
      </a:accent4>
      <a:accent5>
        <a:srgbClr val="0071CE"/>
      </a:accent5>
      <a:accent6>
        <a:srgbClr val="292929"/>
      </a:accent6>
      <a:hlink>
        <a:srgbClr val="0071CE"/>
      </a:hlink>
      <a:folHlink>
        <a:srgbClr val="2F2951"/>
      </a:folHlink>
    </a:clrScheme>
    <a:fontScheme name="Bogle">
      <a:majorFont>
        <a:latin typeface="Bogle"/>
        <a:ea typeface=""/>
        <a:cs typeface=""/>
      </a:majorFont>
      <a:minorFont>
        <a:latin typeface="Bogl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5_Office Theme">
  <a:themeElements>
    <a:clrScheme name="Walmart Brand Colors">
      <a:dk1>
        <a:srgbClr val="0071CE"/>
      </a:dk1>
      <a:lt1>
        <a:sysClr val="window" lastClr="FFFFFF"/>
      </a:lt1>
      <a:dk2>
        <a:srgbClr val="2F2951"/>
      </a:dk2>
      <a:lt2>
        <a:srgbClr val="FFC220"/>
      </a:lt2>
      <a:accent1>
        <a:srgbClr val="FA6400"/>
      </a:accent1>
      <a:accent2>
        <a:srgbClr val="5FB446"/>
      </a:accent2>
      <a:accent3>
        <a:srgbClr val="DE1C24"/>
      </a:accent3>
      <a:accent4>
        <a:srgbClr val="FFF200"/>
      </a:accent4>
      <a:accent5>
        <a:srgbClr val="0071CE"/>
      </a:accent5>
      <a:accent6>
        <a:srgbClr val="292929"/>
      </a:accent6>
      <a:hlink>
        <a:srgbClr val="0071CE"/>
      </a:hlink>
      <a:folHlink>
        <a:srgbClr val="2F2951"/>
      </a:folHlink>
    </a:clrScheme>
    <a:fontScheme name="Bogle">
      <a:majorFont>
        <a:latin typeface="Bogle"/>
        <a:ea typeface=""/>
        <a:cs typeface=""/>
      </a:majorFont>
      <a:minorFont>
        <a:latin typeface="Bogl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5A89896449AC4DAA07FE174A484B5B" ma:contentTypeVersion="7" ma:contentTypeDescription="Create a new document." ma:contentTypeScope="" ma:versionID="ef0d87661ffb256a0d8efd6cb12e0ad4">
  <xsd:schema xmlns:xsd="http://www.w3.org/2001/XMLSchema" xmlns:xs="http://www.w3.org/2001/XMLSchema" xmlns:p="http://schemas.microsoft.com/office/2006/metadata/properties" xmlns:ns2="b8bed9e3-647a-4893-a5f8-9355bc3fa912" xmlns:ns3="fcaccf3f-7b95-4616-86d5-3581d90d7431" targetNamespace="http://schemas.microsoft.com/office/2006/metadata/properties" ma:root="true" ma:fieldsID="144ccc3a7d5845a8d5b2bb4a7adf5dba" ns2:_="" ns3:_="">
    <xsd:import namespace="b8bed9e3-647a-4893-a5f8-9355bc3fa912"/>
    <xsd:import namespace="fcaccf3f-7b95-4616-86d5-3581d90d743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bed9e3-647a-4893-a5f8-9355bc3fa91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accf3f-7b95-4616-86d5-3581d90d743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E1E9950-B08D-4E07-8B29-C66E2A2ABB80}">
  <ds:schemaRefs>
    <ds:schemaRef ds:uri="b8bed9e3-647a-4893-a5f8-9355bc3fa912"/>
    <ds:schemaRef ds:uri="fcaccf3f-7b95-4616-86d5-3581d90d743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C9BCDA-1D70-496F-93DB-A3510A15F72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B5D07EF-4896-4210-9E84-16F3AF7593D0}">
  <ds:schemaRefs>
    <ds:schemaRef ds:uri="b8bed9e3-647a-4893-a5f8-9355bc3fa912"/>
    <ds:schemaRef ds:uri="fcaccf3f-7b95-4616-86d5-3581d90d743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9</Slides>
  <Notes>1</Notes>
  <HiddenSlides>0</HiddenSlide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3_Custom Design</vt:lpstr>
      <vt:lpstr>4_Custom Design</vt:lpstr>
      <vt:lpstr>2_Office Theme</vt:lpstr>
      <vt:lpstr>3_Office Theme</vt:lpstr>
      <vt:lpstr>4_Office Theme</vt:lpstr>
      <vt:lpstr>5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in, Tina</dc:creator>
  <cp:revision>94</cp:revision>
  <dcterms:created xsi:type="dcterms:W3CDTF">2021-03-18T14:39:38Z</dcterms:created>
  <dcterms:modified xsi:type="dcterms:W3CDTF">2022-10-04T15:1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E5A89896449AC4DAA07FE174A484B5B</vt:lpwstr>
  </property>
  <property fmtid="{D5CDD505-2E9C-101B-9397-08002B2CF9AE}" pid="3" name="MSIP_Label_b24820e8-223f-4ed2-bd95-81c83f641284_Enabled">
    <vt:lpwstr>true</vt:lpwstr>
  </property>
  <property fmtid="{D5CDD505-2E9C-101B-9397-08002B2CF9AE}" pid="4" name="MSIP_Label_b24820e8-223f-4ed2-bd95-81c83f641284_SetDate">
    <vt:lpwstr>2022-09-19T07:05:54Z</vt:lpwstr>
  </property>
  <property fmtid="{D5CDD505-2E9C-101B-9397-08002B2CF9AE}" pid="5" name="MSIP_Label_b24820e8-223f-4ed2-bd95-81c83f641284_Method">
    <vt:lpwstr>Standard</vt:lpwstr>
  </property>
  <property fmtid="{D5CDD505-2E9C-101B-9397-08002B2CF9AE}" pid="6" name="MSIP_Label_b24820e8-223f-4ed2-bd95-81c83f641284_Name">
    <vt:lpwstr>b24820e8-223f-4ed2-bd95-81c83f641284</vt:lpwstr>
  </property>
  <property fmtid="{D5CDD505-2E9C-101B-9397-08002B2CF9AE}" pid="7" name="MSIP_Label_b24820e8-223f-4ed2-bd95-81c83f641284_SiteId">
    <vt:lpwstr>3cbcc3d3-094d-4006-9849-0d11d61f484d</vt:lpwstr>
  </property>
  <property fmtid="{D5CDD505-2E9C-101B-9397-08002B2CF9AE}" pid="8" name="MSIP_Label_b24820e8-223f-4ed2-bd95-81c83f641284_ActionId">
    <vt:lpwstr>79a3335f-4969-44e2-b71f-3a4787c99fea</vt:lpwstr>
  </property>
  <property fmtid="{D5CDD505-2E9C-101B-9397-08002B2CF9AE}" pid="9" name="MSIP_Label_b24820e8-223f-4ed2-bd95-81c83f641284_ContentBits">
    <vt:lpwstr>0</vt:lpwstr>
  </property>
</Properties>
</file>